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5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6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73" r:id="rId3"/>
    <p:sldMasterId id="2147483718" r:id="rId4"/>
    <p:sldMasterId id="2147483748" r:id="rId5"/>
    <p:sldMasterId id="2147483774" r:id="rId6"/>
    <p:sldMasterId id="2147483837" r:id="rId7"/>
    <p:sldMasterId id="2147483856" r:id="rId8"/>
  </p:sldMasterIdLst>
  <p:notesMasterIdLst>
    <p:notesMasterId r:id="rId15"/>
  </p:notesMasterIdLst>
  <p:sldIdLst>
    <p:sldId id="3701" r:id="rId9"/>
    <p:sldId id="3703" r:id="rId10"/>
    <p:sldId id="3704" r:id="rId11"/>
    <p:sldId id="3705" r:id="rId12"/>
    <p:sldId id="3706" r:id="rId13"/>
    <p:sldId id="3707" r:id="rId14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DE3A6DF-34C8-4520-8DDA-1DD0DAF04C90}" v="1" dt="2018-09-20T12:41:27.767"/>
    <p1510:client id="{9311B54E-DECD-4571-AA81-1889FB3E94B4}" v="144" dt="2018-09-20T15:58:41.050"/>
    <p1510:client id="{56360F09-71BE-4BB6-9731-E7B244A78688}" v="4" dt="2018-09-20T14:21:03.84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5" d="100"/>
          <a:sy n="95" d="100"/>
        </p:scale>
        <p:origin x="99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16216A-EB41-48B0-A130-BA10D8EB4A92}" type="datetimeFigureOut">
              <a:rPr lang="fr-FR" smtClean="0"/>
              <a:t>26/09/2018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58990D-83BB-4891-B7C9-4BB22ECA552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3405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58990D-83BB-4891-B7C9-4BB22ECA552A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80411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58990D-83BB-4891-B7C9-4BB22ECA552A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83840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5.emf"/></Relationships>
</file>

<file path=ppt/slideLayouts/_rels/slideLayout13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5.emf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1.png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34.jpg"/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.bin"/></Relationships>
</file>

<file path=ppt/slideLayouts/_rels/slideLayout179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4.emf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2.png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39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1" y="354829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697254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1" y="0"/>
            <a:ext cx="12184961" cy="6857999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3592580"/>
          </a:xfrm>
          <a:prstGeom prst="rect">
            <a:avLst/>
          </a:prstGeom>
          <a:solidFill>
            <a:schemeClr val="accent4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5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615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7863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fidentiality slid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D07666-5C5E-4C40-8C68-86D1F3CAB0C5}"/>
              </a:ext>
            </a:extLst>
          </p:cNvPr>
          <p:cNvSpPr txBox="1"/>
          <p:nvPr userDrawn="1"/>
        </p:nvSpPr>
        <p:spPr>
          <a:xfrm>
            <a:off x="584200" y="4173080"/>
            <a:ext cx="11022584" cy="2095958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A6B1A30E-72AA-4A8F-A97F-FD4B4989FC97}"/>
              </a:ext>
            </a:extLst>
          </p:cNvPr>
          <p:cNvSpPr/>
          <p:nvPr userDrawn="1"/>
        </p:nvSpPr>
        <p:spPr bwMode="gray">
          <a:xfrm>
            <a:off x="2697102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86F400F5-9FA0-4CE6-B207-5F2FF50C7927}"/>
              </a:ext>
            </a:extLst>
          </p:cNvPr>
          <p:cNvSpPr/>
          <p:nvPr userDrawn="1"/>
        </p:nvSpPr>
        <p:spPr bwMode="gray">
          <a:xfrm>
            <a:off x="5318069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BA797159-0B2F-4995-81D8-EBFFD05AB617}"/>
              </a:ext>
            </a:extLst>
          </p:cNvPr>
          <p:cNvGrpSpPr/>
          <p:nvPr userDrawn="1"/>
        </p:nvGrpSpPr>
        <p:grpSpPr bwMode="gray">
          <a:xfrm flipH="1">
            <a:off x="5901486" y="2178437"/>
            <a:ext cx="436044" cy="827404"/>
            <a:chOff x="5200650" y="1722438"/>
            <a:chExt cx="1797050" cy="3409950"/>
          </a:xfrm>
        </p:grpSpPr>
        <p:sp>
          <p:nvSpPr>
            <p:cNvPr id="105" name="Freeform 26">
              <a:extLst>
                <a:ext uri="{FF2B5EF4-FFF2-40B4-BE49-F238E27FC236}">
                  <a16:creationId xmlns:a16="http://schemas.microsoft.com/office/drawing/2014/main" id="{D5EE552A-CFE9-4D35-BDE3-A939AA559C2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200650" y="1722438"/>
              <a:ext cx="1797050" cy="3409950"/>
            </a:xfrm>
            <a:custGeom>
              <a:avLst/>
              <a:gdLst>
                <a:gd name="T0" fmla="*/ 497 w 543"/>
                <a:gd name="T1" fmla="*/ 0 h 1030"/>
                <a:gd name="T2" fmla="*/ 46 w 543"/>
                <a:gd name="T3" fmla="*/ 0 h 1030"/>
                <a:gd name="T4" fmla="*/ 0 w 543"/>
                <a:gd name="T5" fmla="*/ 46 h 1030"/>
                <a:gd name="T6" fmla="*/ 0 w 543"/>
                <a:gd name="T7" fmla="*/ 983 h 1030"/>
                <a:gd name="T8" fmla="*/ 46 w 543"/>
                <a:gd name="T9" fmla="*/ 1030 h 1030"/>
                <a:gd name="T10" fmla="*/ 497 w 543"/>
                <a:gd name="T11" fmla="*/ 1030 h 1030"/>
                <a:gd name="T12" fmla="*/ 543 w 543"/>
                <a:gd name="T13" fmla="*/ 983 h 1030"/>
                <a:gd name="T14" fmla="*/ 543 w 543"/>
                <a:gd name="T15" fmla="*/ 46 h 1030"/>
                <a:gd name="T16" fmla="*/ 497 w 543"/>
                <a:gd name="T17" fmla="*/ 0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3" h="1030">
                  <a:moveTo>
                    <a:pt x="497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0" y="21"/>
                    <a:pt x="0" y="46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0" y="1009"/>
                    <a:pt x="21" y="1030"/>
                    <a:pt x="46" y="1030"/>
                  </a:cubicBezTo>
                  <a:cubicBezTo>
                    <a:pt x="497" y="1030"/>
                    <a:pt x="497" y="1030"/>
                    <a:pt x="497" y="1030"/>
                  </a:cubicBezTo>
                  <a:cubicBezTo>
                    <a:pt x="522" y="1030"/>
                    <a:pt x="543" y="1009"/>
                    <a:pt x="543" y="983"/>
                  </a:cubicBezTo>
                  <a:cubicBezTo>
                    <a:pt x="543" y="46"/>
                    <a:pt x="543" y="46"/>
                    <a:pt x="543" y="46"/>
                  </a:cubicBezTo>
                  <a:cubicBezTo>
                    <a:pt x="543" y="21"/>
                    <a:pt x="522" y="0"/>
                    <a:pt x="497" y="0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27">
              <a:extLst>
                <a:ext uri="{FF2B5EF4-FFF2-40B4-BE49-F238E27FC236}">
                  <a16:creationId xmlns:a16="http://schemas.microsoft.com/office/drawing/2014/main" id="{62561F91-9D8C-4635-B806-AE2D1119614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310188" y="2262188"/>
              <a:ext cx="1577975" cy="2433638"/>
            </a:xfrm>
            <a:custGeom>
              <a:avLst/>
              <a:gdLst>
                <a:gd name="T0" fmla="*/ 0 w 994"/>
                <a:gd name="T1" fmla="*/ 1533 h 1533"/>
                <a:gd name="T2" fmla="*/ 994 w 994"/>
                <a:gd name="T3" fmla="*/ 1533 h 1533"/>
                <a:gd name="T4" fmla="*/ 994 w 994"/>
                <a:gd name="T5" fmla="*/ 62 h 1533"/>
                <a:gd name="T6" fmla="*/ 498 w 994"/>
                <a:gd name="T7" fmla="*/ 0 h 1533"/>
                <a:gd name="T8" fmla="*/ 0 w 994"/>
                <a:gd name="T9" fmla="*/ 62 h 1533"/>
                <a:gd name="T10" fmla="*/ 0 w 994"/>
                <a:gd name="T11" fmla="*/ 1533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4" h="1533">
                  <a:moveTo>
                    <a:pt x="0" y="1533"/>
                  </a:moveTo>
                  <a:lnTo>
                    <a:pt x="994" y="1533"/>
                  </a:lnTo>
                  <a:lnTo>
                    <a:pt x="994" y="62"/>
                  </a:lnTo>
                  <a:lnTo>
                    <a:pt x="498" y="0"/>
                  </a:lnTo>
                  <a:lnTo>
                    <a:pt x="0" y="62"/>
                  </a:lnTo>
                  <a:lnTo>
                    <a:pt x="0" y="1533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Rectangle 28">
              <a:extLst>
                <a:ext uri="{FF2B5EF4-FFF2-40B4-BE49-F238E27FC236}">
                  <a16:creationId xmlns:a16="http://schemas.microsoft.com/office/drawing/2014/main" id="{71C38A4E-A7CA-4FC4-B76A-394814BBAD3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310188" y="2006601"/>
              <a:ext cx="1577975" cy="3540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08" name="Rectangle 29">
              <a:extLst>
                <a:ext uri="{FF2B5EF4-FFF2-40B4-BE49-F238E27FC236}">
                  <a16:creationId xmlns:a16="http://schemas.microsoft.com/office/drawing/2014/main" id="{0EB3CFB9-1B4F-40C4-8527-07696A24C4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42013" y="3522663"/>
              <a:ext cx="804863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Rectangle 30">
              <a:extLst>
                <a:ext uri="{FF2B5EF4-FFF2-40B4-BE49-F238E27FC236}">
                  <a16:creationId xmlns:a16="http://schemas.microsoft.com/office/drawing/2014/main" id="{A6E51830-661E-42FF-A82A-D30745B76D1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689351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Rectangle 31">
              <a:extLst>
                <a:ext uri="{FF2B5EF4-FFF2-40B4-BE49-F238E27FC236}">
                  <a16:creationId xmlns:a16="http://schemas.microsoft.com/office/drawing/2014/main" id="{95201EB4-D463-4472-9390-C70DD9F565C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851276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Rectangle 32">
              <a:extLst>
                <a:ext uri="{FF2B5EF4-FFF2-40B4-BE49-F238E27FC236}">
                  <a16:creationId xmlns:a16="http://schemas.microsoft.com/office/drawing/2014/main" id="{B130CDDD-D0C4-4E72-B76C-DB984523826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013201"/>
              <a:ext cx="730250" cy="428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Rectangle 33">
              <a:extLst>
                <a:ext uri="{FF2B5EF4-FFF2-40B4-BE49-F238E27FC236}">
                  <a16:creationId xmlns:a16="http://schemas.microsoft.com/office/drawing/2014/main" id="{65FB6058-8B32-4371-95BE-A2B310C6B8F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178301"/>
              <a:ext cx="132715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Rectangle 34">
              <a:extLst>
                <a:ext uri="{FF2B5EF4-FFF2-40B4-BE49-F238E27FC236}">
                  <a16:creationId xmlns:a16="http://schemas.microsoft.com/office/drawing/2014/main" id="{FB2303C7-0661-4CF0-B491-D2E9D47EE15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149975" y="4341813"/>
              <a:ext cx="59690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Rectangle 35">
              <a:extLst>
                <a:ext uri="{FF2B5EF4-FFF2-40B4-BE49-F238E27FC236}">
                  <a16:creationId xmlns:a16="http://schemas.microsoft.com/office/drawing/2014/main" id="{C3FA6748-9371-4617-9A5E-AEF6112AB5D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32488" y="2509838"/>
              <a:ext cx="836613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5" name="Rectangle 36">
              <a:extLst>
                <a:ext uri="{FF2B5EF4-FFF2-40B4-BE49-F238E27FC236}">
                  <a16:creationId xmlns:a16="http://schemas.microsoft.com/office/drawing/2014/main" id="{22819134-DC28-4E40-9A2C-B052D6FE6E7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509838"/>
              <a:ext cx="171450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6" name="Rectangle 37">
              <a:extLst>
                <a:ext uri="{FF2B5EF4-FFF2-40B4-BE49-F238E27FC236}">
                  <a16:creationId xmlns:a16="http://schemas.microsoft.com/office/drawing/2014/main" id="{A8AB1BAE-A549-4C2D-90AE-29E7A84F30C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680075" y="2509838"/>
              <a:ext cx="173038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7" name="Rectangle 38">
              <a:extLst>
                <a:ext uri="{FF2B5EF4-FFF2-40B4-BE49-F238E27FC236}">
                  <a16:creationId xmlns:a16="http://schemas.microsoft.com/office/drawing/2014/main" id="{6BB21AAD-BEBD-464D-9425-DFCE1A81021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25663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9">
              <a:extLst>
                <a:ext uri="{FF2B5EF4-FFF2-40B4-BE49-F238E27FC236}">
                  <a16:creationId xmlns:a16="http://schemas.microsoft.com/office/drawing/2014/main" id="{82C133A5-90DA-4452-B1C2-96A28D1B3B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68526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40">
              <a:extLst>
                <a:ext uri="{FF2B5EF4-FFF2-40B4-BE49-F238E27FC236}">
                  <a16:creationId xmlns:a16="http://schemas.microsoft.com/office/drawing/2014/main" id="{9EC959C0-2ED1-429D-9343-6B03D72EC2D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216151"/>
              <a:ext cx="1524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41">
              <a:extLst>
                <a:ext uri="{FF2B5EF4-FFF2-40B4-BE49-F238E27FC236}">
                  <a16:creationId xmlns:a16="http://schemas.microsoft.com/office/drawing/2014/main" id="{27EB350B-78EC-4CE4-9803-6981B8ABF25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027738" y="4837113"/>
              <a:ext cx="142875" cy="1460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42">
              <a:extLst>
                <a:ext uri="{FF2B5EF4-FFF2-40B4-BE49-F238E27FC236}">
                  <a16:creationId xmlns:a16="http://schemas.microsoft.com/office/drawing/2014/main" id="{E19CD1BB-BAEF-4D84-8870-955840A2D7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783263" y="1841501"/>
              <a:ext cx="631825" cy="36513"/>
            </a:xfrm>
            <a:custGeom>
              <a:avLst/>
              <a:gdLst>
                <a:gd name="T0" fmla="*/ 185 w 191"/>
                <a:gd name="T1" fmla="*/ 11 h 11"/>
                <a:gd name="T2" fmla="*/ 6 w 191"/>
                <a:gd name="T3" fmla="*/ 11 h 11"/>
                <a:gd name="T4" fmla="*/ 0 w 191"/>
                <a:gd name="T5" fmla="*/ 6 h 11"/>
                <a:gd name="T6" fmla="*/ 6 w 191"/>
                <a:gd name="T7" fmla="*/ 0 h 11"/>
                <a:gd name="T8" fmla="*/ 185 w 191"/>
                <a:gd name="T9" fmla="*/ 0 h 11"/>
                <a:gd name="T10" fmla="*/ 191 w 191"/>
                <a:gd name="T11" fmla="*/ 6 h 11"/>
                <a:gd name="T12" fmla="*/ 185 w 19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1">
                  <a:moveTo>
                    <a:pt x="185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9" y="0"/>
                    <a:pt x="191" y="2"/>
                    <a:pt x="191" y="6"/>
                  </a:cubicBezTo>
                  <a:cubicBezTo>
                    <a:pt x="191" y="9"/>
                    <a:pt x="189" y="11"/>
                    <a:pt x="185" y="11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Rectangle 43">
              <a:extLst>
                <a:ext uri="{FF2B5EF4-FFF2-40B4-BE49-F238E27FC236}">
                  <a16:creationId xmlns:a16="http://schemas.microsoft.com/office/drawing/2014/main" id="{AB3A5491-F398-47CB-BBBC-35E96F4E414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722563"/>
              <a:ext cx="1339850" cy="6286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</p:grpSp>
      <p:sp>
        <p:nvSpPr>
          <p:cNvPr id="149" name="Oval 148">
            <a:extLst>
              <a:ext uri="{FF2B5EF4-FFF2-40B4-BE49-F238E27FC236}">
                <a16:creationId xmlns:a16="http://schemas.microsoft.com/office/drawing/2014/main" id="{88B05F2C-2F66-43AA-A9E2-803B1F843606}"/>
              </a:ext>
            </a:extLst>
          </p:cNvPr>
          <p:cNvSpPr/>
          <p:nvPr userDrawn="1"/>
        </p:nvSpPr>
        <p:spPr bwMode="gray">
          <a:xfrm>
            <a:off x="7892021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E88D9ECD-A4C6-4CFD-BE83-83D944C0F97B}"/>
              </a:ext>
            </a:extLst>
          </p:cNvPr>
          <p:cNvGrpSpPr/>
          <p:nvPr userDrawn="1"/>
        </p:nvGrpSpPr>
        <p:grpSpPr bwMode="gray">
          <a:xfrm>
            <a:off x="8118306" y="2286842"/>
            <a:ext cx="1150309" cy="610594"/>
            <a:chOff x="6151563" y="1584325"/>
            <a:chExt cx="4276725" cy="2270126"/>
          </a:xfrm>
        </p:grpSpPr>
        <p:sp>
          <p:nvSpPr>
            <p:cNvPr id="129" name="Rectangle 47">
              <a:extLst>
                <a:ext uri="{FF2B5EF4-FFF2-40B4-BE49-F238E27FC236}">
                  <a16:creationId xmlns:a16="http://schemas.microsoft.com/office/drawing/2014/main" id="{26C055B8-93FF-46DA-B415-D8D54497176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30988" y="1584325"/>
              <a:ext cx="3317875" cy="208438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Rectangle 48">
              <a:extLst>
                <a:ext uri="{FF2B5EF4-FFF2-40B4-BE49-F238E27FC236}">
                  <a16:creationId xmlns:a16="http://schemas.microsoft.com/office/drawing/2014/main" id="{CFE4BDC0-DE0F-4728-875B-177D4395AAE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848476" y="1785938"/>
              <a:ext cx="2879725" cy="17637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9">
              <a:extLst>
                <a:ext uri="{FF2B5EF4-FFF2-40B4-BE49-F238E27FC236}">
                  <a16:creationId xmlns:a16="http://schemas.microsoft.com/office/drawing/2014/main" id="{DF9925D4-DE10-40F0-8BA3-16B00AE6C44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51563" y="3668713"/>
              <a:ext cx="4276725" cy="185738"/>
            </a:xfrm>
            <a:custGeom>
              <a:avLst/>
              <a:gdLst>
                <a:gd name="T0" fmla="*/ 1265 w 1295"/>
                <a:gd name="T1" fmla="*/ 56 h 56"/>
                <a:gd name="T2" fmla="*/ 29 w 1295"/>
                <a:gd name="T3" fmla="*/ 56 h 56"/>
                <a:gd name="T4" fmla="*/ 0 w 1295"/>
                <a:gd name="T5" fmla="*/ 26 h 56"/>
                <a:gd name="T6" fmla="*/ 0 w 1295"/>
                <a:gd name="T7" fmla="*/ 0 h 56"/>
                <a:gd name="T8" fmla="*/ 1295 w 1295"/>
                <a:gd name="T9" fmla="*/ 0 h 56"/>
                <a:gd name="T10" fmla="*/ 1295 w 1295"/>
                <a:gd name="T11" fmla="*/ 26 h 56"/>
                <a:gd name="T12" fmla="*/ 1265 w 1295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5" h="56">
                  <a:moveTo>
                    <a:pt x="1265" y="56"/>
                  </a:moveTo>
                  <a:cubicBezTo>
                    <a:pt x="29" y="56"/>
                    <a:pt x="29" y="56"/>
                    <a:pt x="29" y="56"/>
                  </a:cubicBezTo>
                  <a:cubicBezTo>
                    <a:pt x="13" y="56"/>
                    <a:pt x="0" y="43"/>
                    <a:pt x="0" y="2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95" y="0"/>
                    <a:pt x="1295" y="0"/>
                    <a:pt x="1295" y="0"/>
                  </a:cubicBezTo>
                  <a:cubicBezTo>
                    <a:pt x="1295" y="26"/>
                    <a:pt x="1295" y="26"/>
                    <a:pt x="1295" y="26"/>
                  </a:cubicBezTo>
                  <a:cubicBezTo>
                    <a:pt x="1295" y="43"/>
                    <a:pt x="1282" y="56"/>
                    <a:pt x="1265" y="5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2" name="Rectangle 50">
              <a:extLst>
                <a:ext uri="{FF2B5EF4-FFF2-40B4-BE49-F238E27FC236}">
                  <a16:creationId xmlns:a16="http://schemas.microsoft.com/office/drawing/2014/main" id="{E95E9909-20A7-4A13-8FBC-BB76A4AAD52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353301" y="2098675"/>
              <a:ext cx="865188" cy="3302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3" name="Rectangle 51">
              <a:extLst>
                <a:ext uri="{FF2B5EF4-FFF2-40B4-BE49-F238E27FC236}">
                  <a16:creationId xmlns:a16="http://schemas.microsoft.com/office/drawing/2014/main" id="{2FD4C439-4658-45FA-AB12-5252FC20915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098675"/>
              <a:ext cx="266700" cy="330200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4" name="Rectangle 52">
              <a:extLst>
                <a:ext uri="{FF2B5EF4-FFF2-40B4-BE49-F238E27FC236}">
                  <a16:creationId xmlns:a16="http://schemas.microsoft.com/office/drawing/2014/main" id="{D9CFF0E1-0AE6-43B7-BC45-CB587EB544A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559050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5" name="Rectangle 53">
              <a:extLst>
                <a:ext uri="{FF2B5EF4-FFF2-40B4-BE49-F238E27FC236}">
                  <a16:creationId xmlns:a16="http://schemas.microsoft.com/office/drawing/2014/main" id="{E57A2468-B3CA-4D73-B693-76A85B0F761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744788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6" name="Rectangle 54">
              <a:extLst>
                <a:ext uri="{FF2B5EF4-FFF2-40B4-BE49-F238E27FC236}">
                  <a16:creationId xmlns:a16="http://schemas.microsoft.com/office/drawing/2014/main" id="{590B34AA-176F-4A9B-8492-C9062CEEB0A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925763"/>
              <a:ext cx="1131888" cy="1063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7" name="Rectangle 55">
              <a:extLst>
                <a:ext uri="{FF2B5EF4-FFF2-40B4-BE49-F238E27FC236}">
                  <a16:creationId xmlns:a16="http://schemas.microsoft.com/office/drawing/2014/main" id="{B478D54E-B6DE-4ACF-B271-59436F9D78D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111500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8" name="Rectangle 56">
              <a:extLst>
                <a:ext uri="{FF2B5EF4-FFF2-40B4-BE49-F238E27FC236}">
                  <a16:creationId xmlns:a16="http://schemas.microsoft.com/office/drawing/2014/main" id="{10E94144-47B6-4CC4-8ACA-8555C206329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297238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9" name="Rectangle 57">
              <a:extLst>
                <a:ext uri="{FF2B5EF4-FFF2-40B4-BE49-F238E27FC236}">
                  <a16:creationId xmlns:a16="http://schemas.microsoft.com/office/drawing/2014/main" id="{884B7082-B3DA-41C6-888E-340C61D061D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Rectangle 58">
              <a:extLst>
                <a:ext uri="{FF2B5EF4-FFF2-40B4-BE49-F238E27FC236}">
                  <a16:creationId xmlns:a16="http://schemas.microsoft.com/office/drawing/2014/main" id="{EAB98FDB-F070-4FD8-8674-449941060C9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098675"/>
              <a:ext cx="312738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Rectangle 59">
              <a:extLst>
                <a:ext uri="{FF2B5EF4-FFF2-40B4-BE49-F238E27FC236}">
                  <a16:creationId xmlns:a16="http://schemas.microsoft.com/office/drawing/2014/main" id="{B045539F-5CE5-47A9-A17E-1643D4CD9B2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Rectangle 60">
              <a:extLst>
                <a:ext uri="{FF2B5EF4-FFF2-40B4-BE49-F238E27FC236}">
                  <a16:creationId xmlns:a16="http://schemas.microsoft.com/office/drawing/2014/main" id="{C0C7BB4D-3B48-4D4F-B494-4C1EE0FD7C1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Rectangle 61">
              <a:extLst>
                <a:ext uri="{FF2B5EF4-FFF2-40B4-BE49-F238E27FC236}">
                  <a16:creationId xmlns:a16="http://schemas.microsoft.com/office/drawing/2014/main" id="{0BFA0E04-B61F-491E-8CEE-28213247876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581275"/>
              <a:ext cx="312738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Rectangle 62">
              <a:extLst>
                <a:ext uri="{FF2B5EF4-FFF2-40B4-BE49-F238E27FC236}">
                  <a16:creationId xmlns:a16="http://schemas.microsoft.com/office/drawing/2014/main" id="{AFB42A0A-BD91-43E7-988D-573EEC53456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Rectangle 63">
              <a:extLst>
                <a:ext uri="{FF2B5EF4-FFF2-40B4-BE49-F238E27FC236}">
                  <a16:creationId xmlns:a16="http://schemas.microsoft.com/office/drawing/2014/main" id="{BA15039E-DBE6-4F6E-80B1-70B510D54B0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Rectangle 64">
              <a:extLst>
                <a:ext uri="{FF2B5EF4-FFF2-40B4-BE49-F238E27FC236}">
                  <a16:creationId xmlns:a16="http://schemas.microsoft.com/office/drawing/2014/main" id="{265A4B65-72CE-4B68-9D58-5199411F4C9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3062288"/>
              <a:ext cx="312738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Rectangle 65">
              <a:extLst>
                <a:ext uri="{FF2B5EF4-FFF2-40B4-BE49-F238E27FC236}">
                  <a16:creationId xmlns:a16="http://schemas.microsoft.com/office/drawing/2014/main" id="{9602881A-C071-4CA3-9947-55E1E8A8C5B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5" name="Multiplication Sign 204">
            <a:extLst>
              <a:ext uri="{FF2B5EF4-FFF2-40B4-BE49-F238E27FC236}">
                <a16:creationId xmlns:a16="http://schemas.microsoft.com/office/drawing/2014/main" id="{464A0F58-5D65-499E-8280-34A9DFF27F4A}"/>
              </a:ext>
            </a:extLst>
          </p:cNvPr>
          <p:cNvSpPr/>
          <p:nvPr userDrawn="1"/>
        </p:nvSpPr>
        <p:spPr bwMode="ltGray">
          <a:xfrm>
            <a:off x="3643244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1" name="Multiplication Sign 210">
            <a:extLst>
              <a:ext uri="{FF2B5EF4-FFF2-40B4-BE49-F238E27FC236}">
                <a16:creationId xmlns:a16="http://schemas.microsoft.com/office/drawing/2014/main" id="{69338860-60E4-44A3-B6C1-0BC1315BA942}"/>
              </a:ext>
            </a:extLst>
          </p:cNvPr>
          <p:cNvSpPr/>
          <p:nvPr userDrawn="1"/>
        </p:nvSpPr>
        <p:spPr bwMode="ltGray">
          <a:xfrm>
            <a:off x="6271892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4" name="Multiplication Sign 213">
            <a:extLst>
              <a:ext uri="{FF2B5EF4-FFF2-40B4-BE49-F238E27FC236}">
                <a16:creationId xmlns:a16="http://schemas.microsoft.com/office/drawing/2014/main" id="{DFD379AB-2220-4E7F-85FE-EBBE910DB5C2}"/>
              </a:ext>
            </a:extLst>
          </p:cNvPr>
          <p:cNvSpPr/>
          <p:nvPr userDrawn="1"/>
        </p:nvSpPr>
        <p:spPr bwMode="ltGray">
          <a:xfrm>
            <a:off x="8826629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971C9C6-D4A9-4DFA-9E2D-9E501DB092DC}"/>
              </a:ext>
            </a:extLst>
          </p:cNvPr>
          <p:cNvGrpSpPr/>
          <p:nvPr userDrawn="1"/>
        </p:nvGrpSpPr>
        <p:grpSpPr bwMode="gray">
          <a:xfrm>
            <a:off x="3132278" y="2298246"/>
            <a:ext cx="718204" cy="544549"/>
            <a:chOff x="3132278" y="2298246"/>
            <a:chExt cx="718204" cy="544549"/>
          </a:xfrm>
        </p:grpSpPr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19123BC5-D4FA-46FE-A2AC-4D6533EA9AB2}"/>
                </a:ext>
              </a:extLst>
            </p:cNvPr>
            <p:cNvSpPr/>
            <p:nvPr/>
          </p:nvSpPr>
          <p:spPr bwMode="gray">
            <a:xfrm>
              <a:off x="3194451" y="2298246"/>
              <a:ext cx="107195" cy="171511"/>
            </a:xfrm>
            <a:custGeom>
              <a:avLst/>
              <a:gdLst/>
              <a:ahLst/>
              <a:cxnLst/>
              <a:rect l="0" t="0" r="0" b="0"/>
              <a:pathLst>
                <a:path w="95250" h="152400">
                  <a:moveTo>
                    <a:pt x="81439" y="147161"/>
                  </a:moveTo>
                  <a:lnTo>
                    <a:pt x="20479" y="147161"/>
                  </a:lnTo>
                  <a:cubicBezTo>
                    <a:pt x="13811" y="147161"/>
                    <a:pt x="7144" y="141446"/>
                    <a:pt x="7144" y="133826"/>
                  </a:cubicBezTo>
                  <a:lnTo>
                    <a:pt x="7144" y="19526"/>
                  </a:lnTo>
                  <a:cubicBezTo>
                    <a:pt x="7144" y="12859"/>
                    <a:pt x="12859" y="7144"/>
                    <a:pt x="20479" y="7144"/>
                  </a:cubicBezTo>
                  <a:lnTo>
                    <a:pt x="81439" y="7144"/>
                  </a:lnTo>
                  <a:cubicBezTo>
                    <a:pt x="88106" y="7144"/>
                    <a:pt x="94774" y="12859"/>
                    <a:pt x="94774" y="20479"/>
                  </a:cubicBezTo>
                  <a:lnTo>
                    <a:pt x="94774" y="134779"/>
                  </a:lnTo>
                  <a:cubicBezTo>
                    <a:pt x="94774" y="141446"/>
                    <a:pt x="88106" y="147161"/>
                    <a:pt x="81439" y="1471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711D87E-2859-4301-A153-9C62DB528E0B}"/>
                </a:ext>
              </a:extLst>
            </p:cNvPr>
            <p:cNvSpPr/>
            <p:nvPr/>
          </p:nvSpPr>
          <p:spPr bwMode="gray">
            <a:xfrm>
              <a:off x="3293070" y="2417233"/>
              <a:ext cx="557412" cy="407339"/>
            </a:xfrm>
            <a:custGeom>
              <a:avLst/>
              <a:gdLst/>
              <a:ahLst/>
              <a:cxnLst/>
              <a:rect l="0" t="0" r="0" b="0"/>
              <a:pathLst>
                <a:path w="495300" h="361950">
                  <a:moveTo>
                    <a:pt x="488156" y="31909"/>
                  </a:moveTo>
                  <a:lnTo>
                    <a:pt x="439579" y="7144"/>
                  </a:lnTo>
                  <a:lnTo>
                    <a:pt x="7144" y="7144"/>
                  </a:lnTo>
                  <a:lnTo>
                    <a:pt x="7144" y="356711"/>
                  </a:lnTo>
                  <a:lnTo>
                    <a:pt x="433864" y="356711"/>
                  </a:lnTo>
                  <a:lnTo>
                    <a:pt x="488156" y="32813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A4F64010-C37F-4B0B-8C4B-E5CD5398E636}"/>
                </a:ext>
              </a:extLst>
            </p:cNvPr>
            <p:cNvSpPr/>
            <p:nvPr/>
          </p:nvSpPr>
          <p:spPr bwMode="gray">
            <a:xfrm>
              <a:off x="3293070" y="2392577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488156" y="53816"/>
                  </a:moveTo>
                  <a:lnTo>
                    <a:pt x="488156" y="49054"/>
                  </a:lnTo>
                  <a:cubicBezTo>
                    <a:pt x="488156" y="26194"/>
                    <a:pt x="469106" y="7144"/>
                    <a:pt x="446246" y="7144"/>
                  </a:cubicBezTo>
                  <a:lnTo>
                    <a:pt x="7144" y="7144"/>
                  </a:lnTo>
                  <a:lnTo>
                    <a:pt x="7144" y="53816"/>
                  </a:lnTo>
                  <a:lnTo>
                    <a:pt x="488156" y="5381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F5111A6-FF13-4B86-9A02-4968F86EFDFC}"/>
                </a:ext>
              </a:extLst>
            </p:cNvPr>
            <p:cNvSpPr/>
            <p:nvPr/>
          </p:nvSpPr>
          <p:spPr bwMode="gray">
            <a:xfrm>
              <a:off x="3293070" y="2778478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7144" y="7144"/>
                  </a:moveTo>
                  <a:lnTo>
                    <a:pt x="7144" y="57626"/>
                  </a:lnTo>
                  <a:lnTo>
                    <a:pt x="446246" y="57626"/>
                  </a:lnTo>
                  <a:cubicBezTo>
                    <a:pt x="469106" y="57626"/>
                    <a:pt x="488156" y="38576"/>
                    <a:pt x="488156" y="15716"/>
                  </a:cubicBezTo>
                  <a:lnTo>
                    <a:pt x="488156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D46C1B4E-7932-4411-ADEE-738D4EB9AB4F}"/>
                </a:ext>
              </a:extLst>
            </p:cNvPr>
            <p:cNvSpPr/>
            <p:nvPr/>
          </p:nvSpPr>
          <p:spPr bwMode="gray">
            <a:xfrm>
              <a:off x="3132278" y="2346484"/>
              <a:ext cx="235828" cy="482376"/>
            </a:xfrm>
            <a:custGeom>
              <a:avLst/>
              <a:gdLst/>
              <a:ahLst/>
              <a:cxnLst/>
              <a:rect l="0" t="0" r="0" b="0"/>
              <a:pathLst>
                <a:path w="209550" h="428625">
                  <a:moveTo>
                    <a:pt x="205264" y="391001"/>
                  </a:moveTo>
                  <a:lnTo>
                    <a:pt x="109061" y="428149"/>
                  </a:lnTo>
                  <a:lnTo>
                    <a:pt x="7144" y="391001"/>
                  </a:lnTo>
                  <a:lnTo>
                    <a:pt x="7144" y="48101"/>
                  </a:lnTo>
                  <a:lnTo>
                    <a:pt x="106204" y="7144"/>
                  </a:lnTo>
                  <a:lnTo>
                    <a:pt x="205264" y="48101"/>
                  </a:ln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03E67C2-61A7-4327-B9AE-EB39024D08C9}"/>
                </a:ext>
              </a:extLst>
            </p:cNvPr>
            <p:cNvSpPr/>
            <p:nvPr/>
          </p:nvSpPr>
          <p:spPr bwMode="gray">
            <a:xfrm>
              <a:off x="3132278" y="2327189"/>
              <a:ext cx="235828" cy="75036"/>
            </a:xfrm>
            <a:custGeom>
              <a:avLst/>
              <a:gdLst/>
              <a:ahLst/>
              <a:cxnLst/>
              <a:rect l="0" t="0" r="0" b="0"/>
              <a:pathLst>
                <a:path w="209550" h="66675">
                  <a:moveTo>
                    <a:pt x="205264" y="65246"/>
                  </a:moveTo>
                  <a:lnTo>
                    <a:pt x="205264" y="44291"/>
                  </a:lnTo>
                  <a:cubicBezTo>
                    <a:pt x="205264" y="23336"/>
                    <a:pt x="188119" y="7144"/>
                    <a:pt x="168116" y="7144"/>
                  </a:cubicBezTo>
                  <a:lnTo>
                    <a:pt x="44291" y="7144"/>
                  </a:lnTo>
                  <a:cubicBezTo>
                    <a:pt x="24289" y="7144"/>
                    <a:pt x="7144" y="24289"/>
                    <a:pt x="7144" y="44291"/>
                  </a:cubicBezTo>
                  <a:lnTo>
                    <a:pt x="7144" y="65246"/>
                  </a:lnTo>
                  <a:lnTo>
                    <a:pt x="205264" y="6524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D3A9CA2-5D0F-4251-A1DB-C27B4C28C03D}"/>
                </a:ext>
              </a:extLst>
            </p:cNvPr>
            <p:cNvSpPr/>
            <p:nvPr/>
          </p:nvSpPr>
          <p:spPr bwMode="gray">
            <a:xfrm>
              <a:off x="3132278" y="2778478"/>
              <a:ext cx="235828" cy="64317"/>
            </a:xfrm>
            <a:custGeom>
              <a:avLst/>
              <a:gdLst/>
              <a:ahLst/>
              <a:cxnLst/>
              <a:rect l="0" t="0" r="0" b="0"/>
              <a:pathLst>
                <a:path w="209550" h="57150">
                  <a:moveTo>
                    <a:pt x="7144" y="7144"/>
                  </a:moveTo>
                  <a:lnTo>
                    <a:pt x="7144" y="19526"/>
                  </a:lnTo>
                  <a:cubicBezTo>
                    <a:pt x="7144" y="40481"/>
                    <a:pt x="24289" y="56674"/>
                    <a:pt x="44291" y="56674"/>
                  </a:cubicBezTo>
                  <a:lnTo>
                    <a:pt x="167164" y="56674"/>
                  </a:lnTo>
                  <a:cubicBezTo>
                    <a:pt x="188119" y="56674"/>
                    <a:pt x="204311" y="39529"/>
                    <a:pt x="204311" y="19526"/>
                  </a:cubicBezTo>
                  <a:lnTo>
                    <a:pt x="204311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39DA858-1E17-41E2-A370-09FD78386FD7}"/>
                </a:ext>
              </a:extLst>
            </p:cNvPr>
            <p:cNvSpPr/>
            <p:nvPr/>
          </p:nvSpPr>
          <p:spPr bwMode="gray">
            <a:xfrm>
              <a:off x="3407769" y="2427952"/>
              <a:ext cx="375181" cy="375181"/>
            </a:xfrm>
            <a:custGeom>
              <a:avLst/>
              <a:gdLst/>
              <a:ahLst/>
              <a:cxnLst/>
              <a:rect l="0" t="0" r="0" b="0"/>
              <a:pathLst>
                <a:path w="333375" h="333375">
                  <a:moveTo>
                    <a:pt x="329089" y="168116"/>
                  </a:moveTo>
                  <a:cubicBezTo>
                    <a:pt x="329089" y="257019"/>
                    <a:pt x="257019" y="329089"/>
                    <a:pt x="168116" y="329089"/>
                  </a:cubicBezTo>
                  <a:cubicBezTo>
                    <a:pt x="79214" y="329089"/>
                    <a:pt x="7144" y="257019"/>
                    <a:pt x="7144" y="168116"/>
                  </a:cubicBezTo>
                  <a:cubicBezTo>
                    <a:pt x="7144" y="79214"/>
                    <a:pt x="79214" y="7144"/>
                    <a:pt x="168116" y="7144"/>
                  </a:cubicBezTo>
                  <a:cubicBezTo>
                    <a:pt x="257019" y="7144"/>
                    <a:pt x="329089" y="79214"/>
                    <a:pt x="329089" y="168116"/>
                  </a:cubicBez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B982D7D2-16E2-4E71-A0C9-3E8F510C3D69}"/>
                </a:ext>
              </a:extLst>
            </p:cNvPr>
            <p:cNvSpPr/>
            <p:nvPr/>
          </p:nvSpPr>
          <p:spPr bwMode="gray">
            <a:xfrm>
              <a:off x="3436711" y="2456894"/>
              <a:ext cx="310864" cy="310864"/>
            </a:xfrm>
            <a:custGeom>
              <a:avLst/>
              <a:gdLst/>
              <a:ahLst/>
              <a:cxnLst/>
              <a:rect l="0" t="0" r="0" b="0"/>
              <a:pathLst>
                <a:path w="276225" h="276225">
                  <a:moveTo>
                    <a:pt x="277654" y="142399"/>
                  </a:moveTo>
                  <a:cubicBezTo>
                    <a:pt x="277654" y="217098"/>
                    <a:pt x="217098" y="277654"/>
                    <a:pt x="142399" y="277654"/>
                  </a:cubicBezTo>
                  <a:cubicBezTo>
                    <a:pt x="67699" y="277654"/>
                    <a:pt x="7144" y="217098"/>
                    <a:pt x="7144" y="142399"/>
                  </a:cubicBezTo>
                  <a:cubicBezTo>
                    <a:pt x="7144" y="67699"/>
                    <a:pt x="67699" y="7144"/>
                    <a:pt x="142399" y="7144"/>
                  </a:cubicBezTo>
                  <a:cubicBezTo>
                    <a:pt x="217098" y="7144"/>
                    <a:pt x="277654" y="67699"/>
                    <a:pt x="277654" y="142399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A6D67E79-9064-4B8F-BA3E-B5213A78A1AD}"/>
                </a:ext>
              </a:extLst>
            </p:cNvPr>
            <p:cNvSpPr/>
            <p:nvPr/>
          </p:nvSpPr>
          <p:spPr bwMode="gray">
            <a:xfrm>
              <a:off x="3588927" y="2609110"/>
              <a:ext cx="160792" cy="160792"/>
            </a:xfrm>
            <a:custGeom>
              <a:avLst/>
              <a:gdLst/>
              <a:ahLst/>
              <a:cxnLst/>
              <a:rect l="0" t="0" r="0" b="0"/>
              <a:pathLst>
                <a:path w="142875" h="142875">
                  <a:moveTo>
                    <a:pt x="7144" y="141446"/>
                  </a:moveTo>
                  <a:lnTo>
                    <a:pt x="7144" y="7144"/>
                  </a:lnTo>
                  <a:lnTo>
                    <a:pt x="142399" y="7144"/>
                  </a:lnTo>
                  <a:lnTo>
                    <a:pt x="142399" y="7144"/>
                  </a:lnTo>
                  <a:cubicBezTo>
                    <a:pt x="142399" y="81439"/>
                    <a:pt x="82391" y="141446"/>
                    <a:pt x="7144" y="141446"/>
                  </a:cubicBezTo>
                  <a:lnTo>
                    <a:pt x="7144" y="14144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881B2B0-E706-40DB-902E-6B6B6D6A4E6C}"/>
                </a:ext>
              </a:extLst>
            </p:cNvPr>
            <p:cNvSpPr/>
            <p:nvPr/>
          </p:nvSpPr>
          <p:spPr bwMode="gray">
            <a:xfrm>
              <a:off x="3497812" y="2517996"/>
              <a:ext cx="192950" cy="192950"/>
            </a:xfrm>
            <a:custGeom>
              <a:avLst/>
              <a:gdLst/>
              <a:ahLst/>
              <a:cxnLst/>
              <a:rect l="0" t="0" r="0" b="0"/>
              <a:pathLst>
                <a:path w="171450" h="171450">
                  <a:moveTo>
                    <a:pt x="169069" y="88106"/>
                  </a:moveTo>
                  <a:cubicBezTo>
                    <a:pt x="169069" y="132821"/>
                    <a:pt x="132821" y="169069"/>
                    <a:pt x="88106" y="169069"/>
                  </a:cubicBezTo>
                  <a:cubicBezTo>
                    <a:pt x="43392" y="169069"/>
                    <a:pt x="7144" y="132821"/>
                    <a:pt x="7144" y="88106"/>
                  </a:cubicBezTo>
                  <a:cubicBezTo>
                    <a:pt x="7144" y="43392"/>
                    <a:pt x="43392" y="7144"/>
                    <a:pt x="88106" y="7144"/>
                  </a:cubicBezTo>
                  <a:cubicBezTo>
                    <a:pt x="132821" y="7144"/>
                    <a:pt x="169069" y="43392"/>
                    <a:pt x="169069" y="8810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A2AA46AB-18A0-4251-B4B2-A28EA46FABC6}"/>
                </a:ext>
              </a:extLst>
            </p:cNvPr>
            <p:cNvSpPr/>
            <p:nvPr/>
          </p:nvSpPr>
          <p:spPr bwMode="gray">
            <a:xfrm>
              <a:off x="3528898" y="2549081"/>
              <a:ext cx="75036" cy="75036"/>
            </a:xfrm>
            <a:custGeom>
              <a:avLst/>
              <a:gdLst/>
              <a:ahLst/>
              <a:cxnLst/>
              <a:rect l="0" t="0" r="0" b="0"/>
              <a:pathLst>
                <a:path w="66675" h="66675">
                  <a:moveTo>
                    <a:pt x="68104" y="37624"/>
                  </a:moveTo>
                  <a:cubicBezTo>
                    <a:pt x="68104" y="54457"/>
                    <a:pt x="54457" y="68104"/>
                    <a:pt x="37624" y="68104"/>
                  </a:cubicBezTo>
                  <a:cubicBezTo>
                    <a:pt x="20790" y="68104"/>
                    <a:pt x="7144" y="54457"/>
                    <a:pt x="7144" y="37624"/>
                  </a:cubicBezTo>
                  <a:cubicBezTo>
                    <a:pt x="7144" y="20790"/>
                    <a:pt x="20790" y="7144"/>
                    <a:pt x="37624" y="7144"/>
                  </a:cubicBezTo>
                  <a:cubicBezTo>
                    <a:pt x="54457" y="7144"/>
                    <a:pt x="68104" y="20790"/>
                    <a:pt x="68104" y="3762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EF43424F-38F4-432B-AE52-7BC0881813F7}"/>
                </a:ext>
              </a:extLst>
            </p:cNvPr>
            <p:cNvSpPr/>
            <p:nvPr/>
          </p:nvSpPr>
          <p:spPr bwMode="gray">
            <a:xfrm>
              <a:off x="3388474" y="2416160"/>
              <a:ext cx="64317" cy="64317"/>
            </a:xfrm>
            <a:custGeom>
              <a:avLst/>
              <a:gdLst/>
              <a:ahLst/>
              <a:cxnLst/>
              <a:rect l="0" t="0" r="0" b="0"/>
              <a:pathLst>
                <a:path w="57150" h="57150">
                  <a:moveTo>
                    <a:pt x="58579" y="32861"/>
                  </a:moveTo>
                  <a:cubicBezTo>
                    <a:pt x="58579" y="47065"/>
                    <a:pt x="47065" y="58579"/>
                    <a:pt x="32861" y="58579"/>
                  </a:cubicBezTo>
                  <a:cubicBezTo>
                    <a:pt x="18658" y="58579"/>
                    <a:pt x="7144" y="47065"/>
                    <a:pt x="7144" y="32861"/>
                  </a:cubicBezTo>
                  <a:cubicBezTo>
                    <a:pt x="7144" y="18658"/>
                    <a:pt x="18658" y="7144"/>
                    <a:pt x="32861" y="7144"/>
                  </a:cubicBezTo>
                  <a:cubicBezTo>
                    <a:pt x="47065" y="7144"/>
                    <a:pt x="58579" y="18658"/>
                    <a:pt x="58579" y="328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A05F177-6194-465B-BE2A-800E5ED64142}"/>
                </a:ext>
              </a:extLst>
            </p:cNvPr>
            <p:cNvSpPr/>
            <p:nvPr/>
          </p:nvSpPr>
          <p:spPr bwMode="gray">
            <a:xfrm>
              <a:off x="3132278" y="2392577"/>
              <a:ext cx="96475" cy="396620"/>
            </a:xfrm>
            <a:custGeom>
              <a:avLst/>
              <a:gdLst/>
              <a:ahLst/>
              <a:cxnLst/>
              <a:rect l="0" t="0" r="0" b="0"/>
              <a:pathLst>
                <a:path w="85725" h="352425">
                  <a:moveTo>
                    <a:pt x="7144" y="7144"/>
                  </a:moveTo>
                  <a:lnTo>
                    <a:pt x="83344" y="7144"/>
                  </a:lnTo>
                  <a:lnTo>
                    <a:pt x="83344" y="350044"/>
                  </a:lnTo>
                  <a:lnTo>
                    <a:pt x="7144" y="35004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83D552AA-E188-4FE9-820E-7624D3B5EABD}"/>
                </a:ext>
              </a:extLst>
            </p:cNvPr>
            <p:cNvSpPr/>
            <p:nvPr/>
          </p:nvSpPr>
          <p:spPr bwMode="gray">
            <a:xfrm>
              <a:off x="3451718" y="2316470"/>
              <a:ext cx="289425" cy="85756"/>
            </a:xfrm>
            <a:custGeom>
              <a:avLst/>
              <a:gdLst/>
              <a:ahLst/>
              <a:cxnLst/>
              <a:rect l="0" t="0" r="0" b="0"/>
              <a:pathLst>
                <a:path w="257175" h="76200">
                  <a:moveTo>
                    <a:pt x="251936" y="75724"/>
                  </a:moveTo>
                  <a:lnTo>
                    <a:pt x="7144" y="75724"/>
                  </a:lnTo>
                  <a:lnTo>
                    <a:pt x="41434" y="17621"/>
                  </a:lnTo>
                  <a:cubicBezTo>
                    <a:pt x="45244" y="10954"/>
                    <a:pt x="52864" y="7144"/>
                    <a:pt x="60484" y="7144"/>
                  </a:cubicBezTo>
                  <a:lnTo>
                    <a:pt x="198596" y="7144"/>
                  </a:lnTo>
                  <a:cubicBezTo>
                    <a:pt x="206216" y="7144"/>
                    <a:pt x="213836" y="10954"/>
                    <a:pt x="217646" y="17621"/>
                  </a:cubicBezTo>
                  <a:lnTo>
                    <a:pt x="251936" y="7572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3875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25538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883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470708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3" y="2626221"/>
            <a:ext cx="5692890" cy="1022871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41198"/>
            <a:ext cx="6274974" cy="1022069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4198126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5" y="3412173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412173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5628510" y="2626221"/>
            <a:ext cx="5533410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keep transform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8D9541E-22DB-4D52-8181-A1AA5720B347}"/>
              </a:ext>
            </a:extLst>
          </p:cNvPr>
          <p:cNvSpPr txBox="1"/>
          <p:nvPr userDrawn="1"/>
        </p:nvSpPr>
        <p:spPr>
          <a:xfrm>
            <a:off x="202095" y="1055246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5DD86FF-CF8D-4D5A-97BA-7526A8303C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28510" y="1055246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1931529-E991-4DB3-B887-1383B877392A}"/>
              </a:ext>
            </a:extLst>
          </p:cNvPr>
          <p:cNvSpPr txBox="1"/>
          <p:nvPr userDrawn="1"/>
        </p:nvSpPr>
        <p:spPr>
          <a:xfrm>
            <a:off x="202095" y="1840269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6B98947-DEBB-40AF-8C56-C6A65155B05A}"/>
              </a:ext>
            </a:extLst>
          </p:cNvPr>
          <p:cNvSpPr txBox="1"/>
          <p:nvPr userDrawn="1"/>
        </p:nvSpPr>
        <p:spPr>
          <a:xfrm>
            <a:off x="202095" y="4198126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01AB3B0-9D9C-4DCF-AD0D-97258F1220DE}"/>
              </a:ext>
            </a:extLst>
          </p:cNvPr>
          <p:cNvGrpSpPr/>
          <p:nvPr userDrawn="1"/>
        </p:nvGrpSpPr>
        <p:grpSpPr>
          <a:xfrm>
            <a:off x="7342825" y="5999452"/>
            <a:ext cx="4629739" cy="615609"/>
            <a:chOff x="274638" y="4554931"/>
            <a:chExt cx="4722575" cy="62786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51D9E96-E652-43D7-AD1D-25CF06E38D9D}"/>
                </a:ext>
              </a:extLst>
            </p:cNvPr>
            <p:cNvSpPr txBox="1"/>
            <p:nvPr userDrawn="1"/>
          </p:nvSpPr>
          <p:spPr>
            <a:xfrm>
              <a:off x="274638" y="4554931"/>
              <a:ext cx="4722575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attle, WA	Jan 29–Feb 2, 2018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E10FA7F9-9C23-492E-BC3D-96F67220A1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59398" y="4685985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71138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7342825" y="5999452"/>
            <a:ext cx="4629739" cy="615609"/>
            <a:chOff x="274638" y="4554931"/>
            <a:chExt cx="4722575" cy="62786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4722575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attle, WA	Jan 29–Feb 2, 2018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2159398" y="4685985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3" y="2626221"/>
            <a:ext cx="11045195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 keep transform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7" y="3412173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grow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7" y="4198126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succee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1840269"/>
            <a:ext cx="253186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lear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75F147-F187-406F-B1C7-8708AB3B7EBF}"/>
              </a:ext>
            </a:extLst>
          </p:cNvPr>
          <p:cNvSpPr txBox="1"/>
          <p:nvPr userDrawn="1"/>
        </p:nvSpPr>
        <p:spPr>
          <a:xfrm>
            <a:off x="4927287" y="1055246"/>
            <a:ext cx="2955598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dream</a:t>
            </a:r>
          </a:p>
        </p:txBody>
      </p:sp>
    </p:spTree>
    <p:extLst>
      <p:ext uri="{BB962C8B-B14F-4D97-AF65-F5344CB8AC3E}">
        <p14:creationId xmlns:p14="http://schemas.microsoft.com/office/powerpoint/2010/main" val="3234903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17347445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1325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0942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0" y="0"/>
            <a:ext cx="12188481" cy="6858000"/>
          </a:xfrm>
          <a:prstGeom prst="rect">
            <a:avLst/>
          </a:prstGeom>
        </p:spPr>
      </p:pic>
      <p:sp>
        <p:nvSpPr>
          <p:cNvPr id="12" name="Dark gradation bottom"/>
          <p:cNvSpPr/>
          <p:nvPr userDrawn="1"/>
        </p:nvSpPr>
        <p:spPr bwMode="gray">
          <a:xfrm flipV="1">
            <a:off x="0" y="-3"/>
            <a:ext cx="12202081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73000"/>
                </a:srgbClr>
              </a:gs>
              <a:gs pos="40000">
                <a:srgbClr val="000000">
                  <a:alpha val="0"/>
                </a:srgbClr>
              </a:gs>
            </a:gsLst>
            <a:lin ang="27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3592580"/>
          </a:xfrm>
          <a:prstGeom prst="rect">
            <a:avLst/>
          </a:prstGeom>
          <a:solidFill>
            <a:schemeClr val="accent6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589" y="6118967"/>
            <a:ext cx="1255413" cy="268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377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4679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5842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4596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002684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0570709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31005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50017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98265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3665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59066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0" y="0"/>
            <a:ext cx="12188481" cy="6858000"/>
          </a:xfrm>
          <a:prstGeom prst="rect">
            <a:avLst/>
          </a:prstGeom>
        </p:spPr>
      </p:pic>
      <p:sp>
        <p:nvSpPr>
          <p:cNvPr id="12" name="Dark gradation bottom"/>
          <p:cNvSpPr/>
          <p:nvPr userDrawn="1"/>
        </p:nvSpPr>
        <p:spPr bwMode="gray">
          <a:xfrm flipV="1">
            <a:off x="0" y="-3"/>
            <a:ext cx="12202081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73000"/>
                </a:srgbClr>
              </a:gs>
              <a:gs pos="40000">
                <a:srgbClr val="000000">
                  <a:alpha val="0"/>
                </a:srgbClr>
              </a:gs>
            </a:gsLst>
            <a:lin ang="27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5"/>
            <a:ext cx="6276530" cy="1799462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896552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589" y="6118967"/>
            <a:ext cx="1255413" cy="268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40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fidentiality slid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020772" y="2291365"/>
            <a:ext cx="10249783" cy="1009695"/>
            <a:chOff x="1041241" y="2198265"/>
            <a:chExt cx="10455312" cy="1029795"/>
          </a:xfrm>
        </p:grpSpPr>
        <p:sp>
          <p:nvSpPr>
            <p:cNvPr id="3" name="laptop"/>
            <p:cNvSpPr>
              <a:spLocks noChangeAspect="1" noEditPoints="1"/>
            </p:cNvSpPr>
            <p:nvPr userDrawn="1"/>
          </p:nvSpPr>
          <p:spPr bwMode="auto">
            <a:xfrm>
              <a:off x="9891754" y="2198265"/>
              <a:ext cx="1417556" cy="843914"/>
            </a:xfrm>
            <a:custGeom>
              <a:avLst/>
              <a:gdLst>
                <a:gd name="T0" fmla="*/ 212 w 257"/>
                <a:gd name="T1" fmla="*/ 107 h 153"/>
                <a:gd name="T2" fmla="*/ 43 w 257"/>
                <a:gd name="T3" fmla="*/ 107 h 153"/>
                <a:gd name="T4" fmla="*/ 43 w 257"/>
                <a:gd name="T5" fmla="*/ 0 h 153"/>
                <a:gd name="T6" fmla="*/ 212 w 257"/>
                <a:gd name="T7" fmla="*/ 0 h 153"/>
                <a:gd name="T8" fmla="*/ 212 w 257"/>
                <a:gd name="T9" fmla="*/ 107 h 153"/>
                <a:gd name="T10" fmla="*/ 43 w 257"/>
                <a:gd name="T11" fmla="*/ 107 h 153"/>
                <a:gd name="T12" fmla="*/ 0 w 257"/>
                <a:gd name="T13" fmla="*/ 153 h 153"/>
                <a:gd name="T14" fmla="*/ 257 w 257"/>
                <a:gd name="T15" fmla="*/ 153 h 153"/>
                <a:gd name="T16" fmla="*/ 212 w 257"/>
                <a:gd name="T17" fmla="*/ 10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153">
                  <a:moveTo>
                    <a:pt x="212" y="107"/>
                  </a:moveTo>
                  <a:lnTo>
                    <a:pt x="43" y="107"/>
                  </a:lnTo>
                  <a:lnTo>
                    <a:pt x="43" y="0"/>
                  </a:lnTo>
                  <a:lnTo>
                    <a:pt x="212" y="0"/>
                  </a:lnTo>
                  <a:lnTo>
                    <a:pt x="212" y="107"/>
                  </a:lnTo>
                  <a:moveTo>
                    <a:pt x="43" y="107"/>
                  </a:moveTo>
                  <a:lnTo>
                    <a:pt x="0" y="153"/>
                  </a:lnTo>
                  <a:lnTo>
                    <a:pt x="257" y="153"/>
                  </a:lnTo>
                  <a:lnTo>
                    <a:pt x="212" y="10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" name="phone"/>
            <p:cNvSpPr>
              <a:spLocks noChangeAspect="1" noEditPoints="1"/>
            </p:cNvSpPr>
            <p:nvPr userDrawn="1"/>
          </p:nvSpPr>
          <p:spPr bwMode="auto">
            <a:xfrm>
              <a:off x="4177456" y="2253648"/>
              <a:ext cx="473065" cy="757539"/>
            </a:xfrm>
            <a:custGeom>
              <a:avLst/>
              <a:gdLst>
                <a:gd name="T0" fmla="*/ 148 w 148"/>
                <a:gd name="T1" fmla="*/ 112 h 237"/>
                <a:gd name="T2" fmla="*/ 148 w 148"/>
                <a:gd name="T3" fmla="*/ 237 h 237"/>
                <a:gd name="T4" fmla="*/ 0 w 148"/>
                <a:gd name="T5" fmla="*/ 237 h 237"/>
                <a:gd name="T6" fmla="*/ 0 w 148"/>
                <a:gd name="T7" fmla="*/ 0 h 237"/>
                <a:gd name="T8" fmla="*/ 148 w 148"/>
                <a:gd name="T9" fmla="*/ 0 h 237"/>
                <a:gd name="T10" fmla="*/ 148 w 148"/>
                <a:gd name="T11" fmla="*/ 112 h 237"/>
                <a:gd name="T12" fmla="*/ 0 w 148"/>
                <a:gd name="T13" fmla="*/ 29 h 237"/>
                <a:gd name="T14" fmla="*/ 148 w 148"/>
                <a:gd name="T15" fmla="*/ 29 h 237"/>
                <a:gd name="T16" fmla="*/ 0 w 148"/>
                <a:gd name="T17" fmla="*/ 172 h 237"/>
                <a:gd name="T18" fmla="*/ 148 w 148"/>
                <a:gd name="T19" fmla="*/ 172 h 237"/>
                <a:gd name="T20" fmla="*/ 66 w 148"/>
                <a:gd name="T21" fmla="*/ 204 h 237"/>
                <a:gd name="T22" fmla="*/ 82 w 148"/>
                <a:gd name="T23" fmla="*/ 20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8" h="237">
                  <a:moveTo>
                    <a:pt x="148" y="112"/>
                  </a:moveTo>
                  <a:lnTo>
                    <a:pt x="148" y="237"/>
                  </a:lnTo>
                  <a:lnTo>
                    <a:pt x="0" y="237"/>
                  </a:lnTo>
                  <a:lnTo>
                    <a:pt x="0" y="0"/>
                  </a:lnTo>
                  <a:lnTo>
                    <a:pt x="148" y="0"/>
                  </a:lnTo>
                  <a:lnTo>
                    <a:pt x="148" y="112"/>
                  </a:lnTo>
                  <a:moveTo>
                    <a:pt x="0" y="29"/>
                  </a:moveTo>
                  <a:lnTo>
                    <a:pt x="148" y="29"/>
                  </a:lnTo>
                  <a:moveTo>
                    <a:pt x="0" y="172"/>
                  </a:moveTo>
                  <a:lnTo>
                    <a:pt x="148" y="172"/>
                  </a:lnTo>
                  <a:moveTo>
                    <a:pt x="66" y="204"/>
                  </a:moveTo>
                  <a:lnTo>
                    <a:pt x="82" y="204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tablet_2"/>
            <p:cNvSpPr>
              <a:spLocks noChangeAspect="1" noEditPoints="1"/>
            </p:cNvSpPr>
            <p:nvPr userDrawn="1"/>
          </p:nvSpPr>
          <p:spPr bwMode="auto">
            <a:xfrm>
              <a:off x="6815622" y="2222769"/>
              <a:ext cx="1118473" cy="819293"/>
            </a:xfrm>
            <a:custGeom>
              <a:avLst/>
              <a:gdLst>
                <a:gd name="T0" fmla="*/ 243 w 243"/>
                <a:gd name="T1" fmla="*/ 83 h 178"/>
                <a:gd name="T2" fmla="*/ 243 w 243"/>
                <a:gd name="T3" fmla="*/ 178 h 178"/>
                <a:gd name="T4" fmla="*/ 0 w 243"/>
                <a:gd name="T5" fmla="*/ 178 h 178"/>
                <a:gd name="T6" fmla="*/ 0 w 243"/>
                <a:gd name="T7" fmla="*/ 0 h 178"/>
                <a:gd name="T8" fmla="*/ 243 w 243"/>
                <a:gd name="T9" fmla="*/ 0 h 178"/>
                <a:gd name="T10" fmla="*/ 243 w 243"/>
                <a:gd name="T11" fmla="*/ 83 h 178"/>
                <a:gd name="T12" fmla="*/ 113 w 243"/>
                <a:gd name="T13" fmla="*/ 147 h 178"/>
                <a:gd name="T14" fmla="*/ 129 w 243"/>
                <a:gd name="T15" fmla="*/ 14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3" h="178">
                  <a:moveTo>
                    <a:pt x="243" y="83"/>
                  </a:moveTo>
                  <a:lnTo>
                    <a:pt x="243" y="178"/>
                  </a:lnTo>
                  <a:lnTo>
                    <a:pt x="0" y="178"/>
                  </a:lnTo>
                  <a:lnTo>
                    <a:pt x="0" y="0"/>
                  </a:lnTo>
                  <a:lnTo>
                    <a:pt x="243" y="0"/>
                  </a:lnTo>
                  <a:lnTo>
                    <a:pt x="243" y="83"/>
                  </a:lnTo>
                  <a:moveTo>
                    <a:pt x="113" y="147"/>
                  </a:moveTo>
                  <a:lnTo>
                    <a:pt x="129" y="14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camera"/>
            <p:cNvSpPr>
              <a:spLocks noChangeAspect="1" noEditPoints="1"/>
            </p:cNvSpPr>
            <p:nvPr userDrawn="1"/>
          </p:nvSpPr>
          <p:spPr bwMode="auto">
            <a:xfrm>
              <a:off x="1041241" y="2295852"/>
              <a:ext cx="842296" cy="673131"/>
            </a:xfrm>
            <a:custGeom>
              <a:avLst/>
              <a:gdLst>
                <a:gd name="T0" fmla="*/ 0 w 330"/>
                <a:gd name="T1" fmla="*/ 24 h 264"/>
                <a:gd name="T2" fmla="*/ 87 w 330"/>
                <a:gd name="T3" fmla="*/ 24 h 264"/>
                <a:gd name="T4" fmla="*/ 111 w 330"/>
                <a:gd name="T5" fmla="*/ 0 h 264"/>
                <a:gd name="T6" fmla="*/ 217 w 330"/>
                <a:gd name="T7" fmla="*/ 0 h 264"/>
                <a:gd name="T8" fmla="*/ 242 w 330"/>
                <a:gd name="T9" fmla="*/ 24 h 264"/>
                <a:gd name="T10" fmla="*/ 330 w 330"/>
                <a:gd name="T11" fmla="*/ 24 h 264"/>
                <a:gd name="T12" fmla="*/ 330 w 330"/>
                <a:gd name="T13" fmla="*/ 264 h 264"/>
                <a:gd name="T14" fmla="*/ 0 w 330"/>
                <a:gd name="T15" fmla="*/ 264 h 264"/>
                <a:gd name="T16" fmla="*/ 0 w 330"/>
                <a:gd name="T17" fmla="*/ 24 h 264"/>
                <a:gd name="T18" fmla="*/ 165 w 330"/>
                <a:gd name="T19" fmla="*/ 221 h 264"/>
                <a:gd name="T20" fmla="*/ 242 w 330"/>
                <a:gd name="T21" fmla="*/ 144 h 264"/>
                <a:gd name="T22" fmla="*/ 165 w 330"/>
                <a:gd name="T23" fmla="*/ 67 h 264"/>
                <a:gd name="T24" fmla="*/ 88 w 330"/>
                <a:gd name="T25" fmla="*/ 144 h 264"/>
                <a:gd name="T26" fmla="*/ 165 w 330"/>
                <a:gd name="T27" fmla="*/ 221 h 264"/>
                <a:gd name="T28" fmla="*/ 42 w 330"/>
                <a:gd name="T29" fmla="*/ 73 h 264"/>
                <a:gd name="T30" fmla="*/ 48 w 330"/>
                <a:gd name="T31" fmla="*/ 67 h 264"/>
                <a:gd name="T32" fmla="*/ 42 w 330"/>
                <a:gd name="T33" fmla="*/ 61 h 264"/>
                <a:gd name="T34" fmla="*/ 36 w 330"/>
                <a:gd name="T35" fmla="*/ 67 h 264"/>
                <a:gd name="T36" fmla="*/ 42 w 330"/>
                <a:gd name="T37" fmla="*/ 73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0" h="264">
                  <a:moveTo>
                    <a:pt x="0" y="24"/>
                  </a:moveTo>
                  <a:cubicBezTo>
                    <a:pt x="87" y="24"/>
                    <a:pt x="87" y="24"/>
                    <a:pt x="87" y="24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42" y="24"/>
                    <a:pt x="242" y="24"/>
                    <a:pt x="242" y="24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64"/>
                    <a:pt x="330" y="264"/>
                    <a:pt x="330" y="264"/>
                  </a:cubicBezTo>
                  <a:cubicBezTo>
                    <a:pt x="0" y="264"/>
                    <a:pt x="0" y="264"/>
                    <a:pt x="0" y="264"/>
                  </a:cubicBezTo>
                  <a:lnTo>
                    <a:pt x="0" y="24"/>
                  </a:lnTo>
                  <a:close/>
                  <a:moveTo>
                    <a:pt x="165" y="221"/>
                  </a:moveTo>
                  <a:cubicBezTo>
                    <a:pt x="208" y="221"/>
                    <a:pt x="242" y="187"/>
                    <a:pt x="242" y="144"/>
                  </a:cubicBezTo>
                  <a:cubicBezTo>
                    <a:pt x="242" y="101"/>
                    <a:pt x="208" y="67"/>
                    <a:pt x="165" y="67"/>
                  </a:cubicBezTo>
                  <a:cubicBezTo>
                    <a:pt x="123" y="67"/>
                    <a:pt x="88" y="101"/>
                    <a:pt x="88" y="144"/>
                  </a:cubicBezTo>
                  <a:cubicBezTo>
                    <a:pt x="88" y="187"/>
                    <a:pt x="123" y="221"/>
                    <a:pt x="165" y="221"/>
                  </a:cubicBezTo>
                  <a:close/>
                  <a:moveTo>
                    <a:pt x="42" y="73"/>
                  </a:moveTo>
                  <a:cubicBezTo>
                    <a:pt x="45" y="73"/>
                    <a:pt x="48" y="70"/>
                    <a:pt x="48" y="67"/>
                  </a:cubicBezTo>
                  <a:cubicBezTo>
                    <a:pt x="48" y="64"/>
                    <a:pt x="45" y="61"/>
                    <a:pt x="42" y="61"/>
                  </a:cubicBezTo>
                  <a:cubicBezTo>
                    <a:pt x="38" y="61"/>
                    <a:pt x="36" y="64"/>
                    <a:pt x="36" y="67"/>
                  </a:cubicBezTo>
                  <a:cubicBezTo>
                    <a:pt x="36" y="70"/>
                    <a:pt x="38" y="73"/>
                    <a:pt x="42" y="73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Multiplication Sign 8"/>
            <p:cNvSpPr/>
            <p:nvPr userDrawn="1"/>
          </p:nvSpPr>
          <p:spPr bwMode="auto">
            <a:xfrm>
              <a:off x="1654939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Multiplication Sign 9"/>
            <p:cNvSpPr/>
            <p:nvPr userDrawn="1"/>
          </p:nvSpPr>
          <p:spPr bwMode="auto">
            <a:xfrm>
              <a:off x="4406053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Multiplication Sign 10"/>
            <p:cNvSpPr/>
            <p:nvPr userDrawn="1"/>
          </p:nvSpPr>
          <p:spPr bwMode="auto">
            <a:xfrm>
              <a:off x="7703328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Multiplication Sign 12"/>
            <p:cNvSpPr/>
            <p:nvPr userDrawn="1"/>
          </p:nvSpPr>
          <p:spPr bwMode="auto">
            <a:xfrm>
              <a:off x="11039358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5" name="TextBox 14"/>
          <p:cNvSpPr txBox="1"/>
          <p:nvPr userDrawn="1"/>
        </p:nvSpPr>
        <p:spPr>
          <a:xfrm>
            <a:off x="629379" y="4403248"/>
            <a:ext cx="10933243" cy="2163685"/>
          </a:xfrm>
          <a:prstGeom prst="rect">
            <a:avLst/>
          </a:prstGeom>
          <a:noFill/>
        </p:spPr>
        <p:txBody>
          <a:bodyPr wrap="none" lIns="179285" tIns="143428" rIns="179285" bIns="143428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157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</p:spTree>
    <p:extLst>
      <p:ext uri="{BB962C8B-B14F-4D97-AF65-F5344CB8AC3E}">
        <p14:creationId xmlns:p14="http://schemas.microsoft.com/office/powerpoint/2010/main" val="929919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3701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911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0021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5670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4464029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9117068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all graphic Layou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182880" y="0"/>
            <a:ext cx="120091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3" name="Rectangle 2"/>
          <p:cNvSpPr/>
          <p:nvPr userDrawn="1"/>
        </p:nvSpPr>
        <p:spPr>
          <a:xfrm>
            <a:off x="0" y="-1"/>
            <a:ext cx="3840480" cy="6858001"/>
          </a:xfrm>
          <a:prstGeom prst="rect">
            <a:avLst/>
          </a:prstGeom>
          <a:solidFill>
            <a:srgbClr val="DD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7680" y="365760"/>
            <a:ext cx="3048000" cy="914096"/>
          </a:xfrm>
        </p:spPr>
        <p:txBody>
          <a:bodyPr/>
          <a:lstStyle>
            <a:lvl1pPr>
              <a:defRPr sz="22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 of the research graphic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4145280" y="2971224"/>
            <a:ext cx="7741920" cy="433965"/>
          </a:xfrm>
        </p:spPr>
        <p:txBody>
          <a:bodyPr anchor="ctr"/>
          <a:lstStyle>
            <a:lvl1pPr marL="0" indent="0" algn="ctr">
              <a:buNone/>
              <a:defRPr sz="1800"/>
            </a:lvl1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Click icon to add a research graphic</a:t>
            </a:r>
          </a:p>
        </p:txBody>
      </p:sp>
      <p:sp>
        <p:nvSpPr>
          <p:cNvPr id="6" name="Source line"/>
          <p:cNvSpPr>
            <a:spLocks noGrp="1"/>
          </p:cNvSpPr>
          <p:nvPr>
            <p:ph type="body" sz="half" idx="2" hasCustomPrompt="1"/>
          </p:nvPr>
        </p:nvSpPr>
        <p:spPr>
          <a:xfrm>
            <a:off x="4145280" y="6077637"/>
            <a:ext cx="7741920" cy="323165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ource line (will not appear in presentation mode if left blank)</a:t>
            </a:r>
          </a:p>
        </p:txBody>
      </p:sp>
    </p:spTree>
    <p:extLst>
      <p:ext uri="{BB962C8B-B14F-4D97-AF65-F5344CB8AC3E}">
        <p14:creationId xmlns:p14="http://schemas.microsoft.com/office/powerpoint/2010/main" val="334324522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8213603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71158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0" y="0"/>
            <a:ext cx="12188481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3000">
                <a:srgbClr val="000000">
                  <a:alpha val="30000"/>
                </a:srgbClr>
              </a:gs>
              <a:gs pos="48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589" y="6118967"/>
            <a:ext cx="1255413" cy="26896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5"/>
            <a:ext cx="6276530" cy="1799462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896552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22340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93353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8091861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75781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THREE COLUMN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87059" y="335067"/>
            <a:ext cx="11415867" cy="766329"/>
          </a:xfrm>
        </p:spPr>
        <p:txBody>
          <a:bodyPr lIns="0" tIns="0" rIns="0" bIns="0" anchor="t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5294" b="0" kern="1200" cap="none" spc="-98" baseline="0" dirty="0">
                <a:gradFill>
                  <a:gsLst>
                    <a:gs pos="16763">
                      <a:schemeClr val="tx1"/>
                    </a:gs>
                    <a:gs pos="38728">
                      <a:schemeClr val="tx1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E90435C-B53E-4681-A0F7-3521424C3B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60451" y="2142443"/>
            <a:ext cx="2698444" cy="2604438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2655">
                      <a:schemeClr val="tx1"/>
                    </a:gs>
                    <a:gs pos="14159">
                      <a:schemeClr val="tx1"/>
                    </a:gs>
                  </a:gsLst>
                  <a:lin ang="5400000" scaled="1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0F8A746-2D49-4175-86F8-0947B73FD1F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9357" y="1645383"/>
            <a:ext cx="2699086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2655">
                      <a:schemeClr val="tx1"/>
                    </a:gs>
                    <a:gs pos="14159">
                      <a:schemeClr val="tx1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D60F9F9-3721-4DAD-926B-E81D0BEE0E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93764" y="2142443"/>
            <a:ext cx="2698444" cy="2604438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2655">
                      <a:schemeClr val="tx1"/>
                    </a:gs>
                    <a:gs pos="14159">
                      <a:schemeClr val="tx1"/>
                    </a:gs>
                  </a:gsLst>
                  <a:lin ang="5400000" scaled="1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DB9E1FD-566D-4B39-BEDF-58FEBCFE8C6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93453" y="1645383"/>
            <a:ext cx="2699086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2655">
                      <a:schemeClr val="tx1"/>
                    </a:gs>
                    <a:gs pos="14159">
                      <a:schemeClr val="tx1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5E31426-5102-43CC-AB07-7299DFE3A0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7077" y="2142443"/>
            <a:ext cx="2698444" cy="2604438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2655">
                      <a:schemeClr val="tx1"/>
                    </a:gs>
                    <a:gs pos="14159">
                      <a:schemeClr val="tx1"/>
                    </a:gs>
                  </a:gsLst>
                  <a:lin ang="5400000" scaled="1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88BF5D1-12AE-4CBD-AD68-A1A8B9394F8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7550" y="1645383"/>
            <a:ext cx="2699086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2655">
                      <a:schemeClr val="tx1"/>
                    </a:gs>
                    <a:gs pos="14159">
                      <a:schemeClr val="tx1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C1AD4DD-31C0-4E98-9E69-AD4BA65B55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27138" y="2144147"/>
            <a:ext cx="2698444" cy="2604438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2655">
                      <a:schemeClr val="tx1"/>
                    </a:gs>
                    <a:gs pos="14159">
                      <a:schemeClr val="tx1"/>
                    </a:gs>
                  </a:gsLst>
                  <a:lin ang="5400000" scaled="1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386FDC9-3416-4602-B86F-E32E770DDD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25262" y="1647087"/>
            <a:ext cx="2699086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2655">
                      <a:schemeClr val="tx1"/>
                    </a:gs>
                    <a:gs pos="14159">
                      <a:schemeClr val="tx1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2006764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pos="5045">
          <p15:clr>
            <a:srgbClr val="FBAE40"/>
          </p15:clr>
        </p15:guide>
        <p15:guide id="2" pos="2501">
          <p15:clr>
            <a:srgbClr val="FBAE40"/>
          </p15:clr>
        </p15:guide>
        <p15:guide id="3" pos="2789">
          <p15:clr>
            <a:srgbClr val="FBAE40"/>
          </p15:clr>
        </p15:guide>
        <p15:guide id="4" pos="5333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FC59FE0B-276A-4836-9331-78F9E04D0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96"/>
                    </a14:imgEffect>
                    <a14:imgEffect>
                      <a14:saturation sat="162000"/>
                    </a14:imgEffect>
                    <a14:imgEffect>
                      <a14:brightnessContrast bright="-18000" contrast="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9434" t="7879" r="8926" b="2324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F6F8842B-8AAE-4527-B7F8-79F68766286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38000">
                <a:schemeClr val="tx1">
                  <a:alpha val="0"/>
                </a:schemeClr>
              </a:gs>
              <a:gs pos="66000">
                <a:schemeClr val="tx1">
                  <a:alpha val="67000"/>
                </a:schemeClr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0">
              <a:gradFill>
                <a:gsLst>
                  <a:gs pos="53097">
                    <a:schemeClr val="tx1"/>
                  </a:gs>
                  <a:gs pos="29000">
                    <a:schemeClr val="tx1"/>
                  </a:gs>
                </a:gsLst>
                <a:lin ang="5400000" scaled="1"/>
              </a:gra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4209299" y="2090940"/>
            <a:ext cx="7982701" cy="4767060"/>
          </a:xfrm>
          <a:prstGeom prst="rect">
            <a:avLst/>
          </a:prstGeom>
          <a:gradFill>
            <a:gsLst>
              <a:gs pos="66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3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65">
              <a:gradFill>
                <a:gsLst>
                  <a:gs pos="53097">
                    <a:schemeClr val="tx1"/>
                  </a:gs>
                  <a:gs pos="29000">
                    <a:schemeClr val="tx1"/>
                  </a:gs>
                </a:gsLst>
                <a:lin ang="5400000" scaled="1"/>
              </a:gradFill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713150" y="5820926"/>
            <a:ext cx="8077956" cy="341441"/>
          </a:xfrm>
        </p:spPr>
        <p:txBody>
          <a:bodyPr lIns="0" tIns="0" rIns="0" bIns="0">
            <a:noAutofit/>
          </a:bodyPr>
          <a:lstStyle>
            <a:lvl1pPr marL="0" indent="0" algn="l" defTabSz="498603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  <a:defRPr lang="en-US" sz="1961" b="0" kern="1200" cap="none" spc="0" baseline="0" dirty="0" smtClean="0">
                <a:gradFill>
                  <a:gsLst>
                    <a:gs pos="19251">
                      <a:schemeClr val="accent4"/>
                    </a:gs>
                    <a:gs pos="38000">
                      <a:schemeClr val="accent4"/>
                    </a:gs>
                  </a:gsLst>
                  <a:lin ang="108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peaker Name</a:t>
            </a:r>
          </a:p>
          <a:p>
            <a:pPr lvl="0"/>
            <a:r>
              <a:rPr lang="en-US"/>
              <a:t>Speaker Tit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3136" y="5374851"/>
            <a:ext cx="8077958" cy="267312"/>
          </a:xfrm>
        </p:spPr>
        <p:txBody>
          <a:bodyPr lIns="0" tIns="0" rIns="0" bIns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1636"/>
              </a:spcBef>
              <a:spcAft>
                <a:spcPts val="0"/>
              </a:spcAft>
              <a:buNone/>
              <a:defRPr lang="en-US" sz="2157" b="0" kern="1200" cap="all" spc="98" baseline="0" dirty="0" smtClean="0">
                <a:gradFill>
                  <a:gsLst>
                    <a:gs pos="19251">
                      <a:schemeClr val="accent4"/>
                    </a:gs>
                    <a:gs pos="38000">
                      <a:schemeClr val="accent4"/>
                    </a:gs>
                  </a:gsLst>
                  <a:lin ang="108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464929" y="5417011"/>
            <a:ext cx="0" cy="997227"/>
          </a:xfrm>
          <a:prstGeom prst="line">
            <a:avLst/>
          </a:prstGeom>
          <a:ln w="19050">
            <a:solidFill>
              <a:schemeClr val="accent4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80661" y="1334405"/>
            <a:ext cx="6498510" cy="3725096"/>
          </a:xfrm>
        </p:spPr>
        <p:txBody>
          <a:bodyPr lIns="0" tIns="0" rIns="0" bIns="0" anchor="ctr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6470" b="0" kern="1200" cap="none" spc="-98" baseline="0" dirty="0">
                <a:solidFill>
                  <a:schemeClr val="accent4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 her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199D776-31A3-4AA2-A0EE-3690B882FA6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8212" y="440494"/>
            <a:ext cx="1490567" cy="322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2576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353"/>
                    </a14:imgEffect>
                    <a14:imgEffect>
                      <a14:saturation sat="88000"/>
                    </a14:imgEffect>
                    <a14:imgEffect>
                      <a14:brightnessContrast bright="-4000" contrast="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4914" r="168" b="12761"/>
          <a:stretch/>
        </p:blipFill>
        <p:spPr>
          <a:xfrm flipH="1">
            <a:off x="-1" y="0"/>
            <a:ext cx="12472924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 rot="16200000" flipH="1">
            <a:off x="7586575" y="1962792"/>
            <a:ext cx="3399367" cy="6412319"/>
          </a:xfrm>
          <a:prstGeom prst="rect">
            <a:avLst/>
          </a:prstGeom>
          <a:gradFill flip="none" rotWithShape="1">
            <a:gsLst>
              <a:gs pos="51000">
                <a:schemeClr val="bg2">
                  <a:alpha val="0"/>
                </a:schemeClr>
              </a:gs>
              <a:gs pos="100000">
                <a:schemeClr val="bg2">
                  <a:alpha val="57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765">
                <a:gradFill>
                  <a:gsLst>
                    <a:gs pos="53097">
                      <a:schemeClr val="tx1"/>
                    </a:gs>
                    <a:gs pos="29000">
                      <a:schemeClr val="tx1"/>
                    </a:gs>
                  </a:gsLst>
                  <a:lin ang="5400000" scaled="1"/>
                </a:gradFill>
              </a:rPr>
              <a:t> </a:t>
            </a:r>
          </a:p>
        </p:txBody>
      </p:sp>
      <p:sp>
        <p:nvSpPr>
          <p:cNvPr id="15" name="Text Placeholder 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13148" y="5820922"/>
            <a:ext cx="8077956" cy="341441"/>
          </a:xfrm>
        </p:spPr>
        <p:txBody>
          <a:bodyPr lIns="0" tIns="0" rIns="0" bIns="0">
            <a:noAutofit/>
          </a:bodyPr>
          <a:lstStyle>
            <a:lvl1pPr marL="0" indent="0" algn="l" defTabSz="498603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  <a:defRPr lang="en-US" sz="1961" b="0" kern="1200" cap="none" spc="0" baseline="0" dirty="0" smtClean="0">
                <a:solidFill>
                  <a:schemeClr val="accent4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peaker Name</a:t>
            </a:r>
          </a:p>
          <a:p>
            <a:pPr lvl="0"/>
            <a:r>
              <a:rPr lang="en-US"/>
              <a:t>Speaker Title</a:t>
            </a:r>
          </a:p>
        </p:txBody>
      </p:sp>
      <p:sp>
        <p:nvSpPr>
          <p:cNvPr id="17" name="Text Placeholder 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13134" y="5374847"/>
            <a:ext cx="8077958" cy="267312"/>
          </a:xfrm>
        </p:spPr>
        <p:txBody>
          <a:bodyPr lIns="0" tIns="0" rIns="0" bIns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1636"/>
              </a:spcBef>
              <a:spcAft>
                <a:spcPts val="0"/>
              </a:spcAft>
              <a:buNone/>
              <a:defRPr lang="en-US" sz="2157" b="0" kern="1200" cap="all" spc="98" baseline="0" dirty="0" smtClean="0">
                <a:solidFill>
                  <a:schemeClr val="accent4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464927" y="5417007"/>
            <a:ext cx="0" cy="997227"/>
          </a:xfrm>
          <a:prstGeom prst="line">
            <a:avLst/>
          </a:prstGeom>
          <a:ln w="19050">
            <a:solidFill>
              <a:schemeClr val="accent4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80659" y="1334401"/>
            <a:ext cx="6498510" cy="3725096"/>
          </a:xfrm>
        </p:spPr>
        <p:txBody>
          <a:bodyPr lIns="0" tIns="0" rIns="0" bIns="0" anchor="ctr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6470" b="0" kern="1200" cap="none" spc="-98" baseline="0" dirty="0">
                <a:solidFill>
                  <a:schemeClr val="accent4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19C765-994C-44B8-BAD7-42BF9B57FC9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8212" y="440494"/>
            <a:ext cx="1490567" cy="322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0460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53810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857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87060" y="335067"/>
            <a:ext cx="10819785" cy="766329"/>
          </a:xfrm>
        </p:spPr>
        <p:txBody>
          <a:bodyPr lIns="0" tIns="0" rIns="0" bIns="0" anchor="t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5294" b="0" kern="1200" cap="none" spc="-98" baseline="0" dirty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890988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>
            <a:extLst>
              <a:ext uri="{FF2B5EF4-FFF2-40B4-BE49-F238E27FC236}">
                <a16:creationId xmlns:a16="http://schemas.microsoft.com/office/drawing/2014/main" id="{90A1D9FC-E63A-4D29-B1B1-D68DBEF498C0}"/>
              </a:ext>
            </a:extLst>
          </p:cNvPr>
          <p:cNvSpPr/>
          <p:nvPr userDrawn="1"/>
        </p:nvSpPr>
        <p:spPr>
          <a:xfrm>
            <a:off x="9" y="0"/>
            <a:ext cx="11507609" cy="6859191"/>
          </a:xfrm>
          <a:custGeom>
            <a:avLst/>
            <a:gdLst>
              <a:gd name="connsiteX0" fmla="*/ 0 w 11504613"/>
              <a:gd name="connsiteY0" fmla="*/ 0 h 6995740"/>
              <a:gd name="connsiteX1" fmla="*/ 8979202 w 11504613"/>
              <a:gd name="connsiteY1" fmla="*/ 0 h 6995740"/>
              <a:gd name="connsiteX2" fmla="*/ 5278038 w 11504613"/>
              <a:gd name="connsiteY2" fmla="*/ 6995739 h 6995740"/>
              <a:gd name="connsiteX3" fmla="*/ 11504613 w 11504613"/>
              <a:gd name="connsiteY3" fmla="*/ 6995739 h 6995740"/>
              <a:gd name="connsiteX4" fmla="*/ 11504613 w 11504613"/>
              <a:gd name="connsiteY4" fmla="*/ 6995740 h 6995740"/>
              <a:gd name="connsiteX5" fmla="*/ 0 w 11504613"/>
              <a:gd name="connsiteY5" fmla="*/ 6995740 h 6995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04613" h="6995740">
                <a:moveTo>
                  <a:pt x="0" y="0"/>
                </a:moveTo>
                <a:lnTo>
                  <a:pt x="8979202" y="0"/>
                </a:lnTo>
                <a:lnTo>
                  <a:pt x="5278038" y="6995739"/>
                </a:lnTo>
                <a:lnTo>
                  <a:pt x="11504613" y="6995739"/>
                </a:lnTo>
                <a:lnTo>
                  <a:pt x="11504613" y="6995740"/>
                </a:lnTo>
                <a:lnTo>
                  <a:pt x="0" y="699574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2065" tIns="31034" rIns="62065" bIns="31034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en-US" sz="1343">
              <a:gradFill>
                <a:gsLst>
                  <a:gs pos="53097">
                    <a:schemeClr val="tx1"/>
                  </a:gs>
                  <a:gs pos="29000">
                    <a:schemeClr val="tx1"/>
                  </a:gs>
                </a:gsLst>
                <a:lin ang="5400000" scaled="1"/>
              </a:gradFill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87060" y="335067"/>
            <a:ext cx="10819785" cy="766329"/>
          </a:xfrm>
        </p:spPr>
        <p:txBody>
          <a:bodyPr lIns="0" tIns="0" rIns="0" bIns="0" anchor="t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5294" b="0" kern="1200" cap="none" spc="-98" baseline="0" dirty="0">
                <a:gradFill>
                  <a:gsLst>
                    <a:gs pos="2655">
                      <a:schemeClr val="tx1"/>
                    </a:gs>
                    <a:gs pos="14159">
                      <a:schemeClr val="tx1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008079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1" y="0"/>
            <a:ext cx="12186720" cy="6857999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3000">
                <a:srgbClr val="000000">
                  <a:alpha val="19000"/>
                </a:srgbClr>
              </a:gs>
              <a:gs pos="33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solidFill>
            <a:schemeClr val="accent2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5"/>
            <a:ext cx="6276530" cy="1799462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896552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589" y="6118967"/>
            <a:ext cx="1255413" cy="268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50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HEADLINE ONLY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87060" y="335067"/>
            <a:ext cx="10819785" cy="766329"/>
          </a:xfrm>
        </p:spPr>
        <p:txBody>
          <a:bodyPr lIns="0" tIns="0" rIns="0" bIns="0" anchor="t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5294" b="0" kern="1200" cap="none" spc="-98" baseline="0" dirty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119714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27085" y="2142443"/>
            <a:ext cx="7027273" cy="2604438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27551" y="1645383"/>
            <a:ext cx="7029141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87060" y="335067"/>
            <a:ext cx="10819785" cy="766329"/>
          </a:xfrm>
        </p:spPr>
        <p:txBody>
          <a:bodyPr lIns="0" tIns="0" rIns="0" bIns="0" anchor="t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5294" b="0" kern="1200" cap="none" spc="-98" baseline="0" dirty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039857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ASIC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27085" y="2142443"/>
            <a:ext cx="7027273" cy="2604438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27551" y="1645383"/>
            <a:ext cx="7029141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87060" y="335067"/>
            <a:ext cx="10819785" cy="766329"/>
          </a:xfrm>
        </p:spPr>
        <p:txBody>
          <a:bodyPr lIns="0" tIns="0" rIns="0" bIns="0" anchor="t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5294" b="0" kern="1200" cap="none" spc="-98" baseline="0" dirty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935249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ASIC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27364" y="2137830"/>
            <a:ext cx="7027273" cy="2604438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1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27830" y="1640770"/>
            <a:ext cx="7029141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87339" y="344177"/>
            <a:ext cx="10819785" cy="766329"/>
          </a:xfrm>
        </p:spPr>
        <p:txBody>
          <a:bodyPr lIns="0" tIns="0" rIns="0" bIns="0" anchor="t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5294" b="0" kern="1200" cap="none" spc="-98" baseline="0" dirty="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63900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37789" y="1696423"/>
            <a:ext cx="10773080" cy="2984830"/>
          </a:xfrm>
        </p:spPr>
        <p:txBody>
          <a:bodyPr lIns="0" tIns="0" rIns="0" bIns="0">
            <a:noAutofit/>
          </a:bodyPr>
          <a:lstStyle>
            <a:lvl1pPr marL="166514" marR="0" indent="-166514" algn="l" defTabSz="498603" rtl="0" eaLnBrk="1" fontAlgn="auto" latinLnBrk="0" hangingPunct="1">
              <a:lnSpc>
                <a:spcPct val="114000"/>
              </a:lnSpc>
              <a:spcBef>
                <a:spcPts val="1176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lang="en-US" sz="1961" b="0" kern="1200" cap="none" spc="0" baseline="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43519" indent="-280118" algn="l" defTabSz="498603" rtl="0" eaLnBrk="1" latinLnBrk="0" hangingPunct="1">
              <a:lnSpc>
                <a:spcPct val="114000"/>
              </a:lnSpc>
              <a:spcBef>
                <a:spcPts val="1176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96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6919" indent="-280118" algn="l" defTabSz="498603" rtl="0" eaLnBrk="1" latinLnBrk="0" hangingPunct="1">
              <a:lnSpc>
                <a:spcPct val="114000"/>
              </a:lnSpc>
              <a:spcBef>
                <a:spcPts val="1176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lang="en-US" sz="196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1879" indent="-280118" algn="l" defTabSz="498603" rtl="0" eaLnBrk="1" latinLnBrk="0" hangingPunct="1">
              <a:lnSpc>
                <a:spcPct val="114000"/>
              </a:lnSpc>
              <a:spcBef>
                <a:spcPts val="1176"/>
              </a:spcBef>
              <a:spcAft>
                <a:spcPts val="0"/>
              </a:spcAft>
              <a:buNone/>
              <a:defRPr lang="en-US" sz="196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marL="166514" lvl="0" indent="-166514" algn="l" defTabSz="498603" rtl="0" eaLnBrk="1" latinLnBrk="0" hangingPunct="1">
              <a:lnSpc>
                <a:spcPct val="114000"/>
              </a:lnSpc>
              <a:spcBef>
                <a:spcPct val="20000"/>
              </a:spcBef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/>
              <a:t>Level 1</a:t>
            </a:r>
          </a:p>
          <a:p>
            <a:pPr marL="334586" lvl="1" indent="-171182" algn="l" defTabSz="498603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/>
              <a:t>Level 2</a:t>
            </a:r>
          </a:p>
          <a:p>
            <a:pPr marL="501099" lvl="2" indent="-174294" algn="l" defTabSz="498603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/>
              <a:t>Level 3</a:t>
            </a:r>
          </a:p>
          <a:p>
            <a:pPr marL="622483" lvl="3" indent="-130721" algn="l" defTabSz="498603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/>
              <a:t>Level 4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93096" y="341177"/>
            <a:ext cx="10819785" cy="766329"/>
          </a:xfrm>
        </p:spPr>
        <p:txBody>
          <a:bodyPr lIns="0" tIns="0" rIns="0" bIns="0" anchor="t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5294" b="0" kern="1200" cap="none" spc="-98" baseline="0" dirty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921299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BULLETED LIST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37789" y="1696423"/>
            <a:ext cx="10773080" cy="2984830"/>
          </a:xfrm>
        </p:spPr>
        <p:txBody>
          <a:bodyPr lIns="0" tIns="0" rIns="0" bIns="0">
            <a:noAutofit/>
          </a:bodyPr>
          <a:lstStyle>
            <a:lvl1pPr marL="166514" marR="0" indent="-166514" algn="l" defTabSz="498603" rtl="0" eaLnBrk="1" fontAlgn="auto" latinLnBrk="0" hangingPunct="1">
              <a:lnSpc>
                <a:spcPct val="114000"/>
              </a:lnSpc>
              <a:spcBef>
                <a:spcPts val="1176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lang="en-US" sz="1961" b="0" kern="1200" cap="none" spc="0" baseline="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43519" indent="-280118" algn="l" defTabSz="498603" rtl="0" eaLnBrk="1" latinLnBrk="0" hangingPunct="1">
              <a:lnSpc>
                <a:spcPct val="114000"/>
              </a:lnSpc>
              <a:spcBef>
                <a:spcPts val="1176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96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6919" indent="-280118" algn="l" defTabSz="498603" rtl="0" eaLnBrk="1" latinLnBrk="0" hangingPunct="1">
              <a:lnSpc>
                <a:spcPct val="114000"/>
              </a:lnSpc>
              <a:spcBef>
                <a:spcPts val="1176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lang="en-US" sz="196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1879" indent="-280118" algn="l" defTabSz="498603" rtl="0" eaLnBrk="1" latinLnBrk="0" hangingPunct="1">
              <a:lnSpc>
                <a:spcPct val="114000"/>
              </a:lnSpc>
              <a:spcBef>
                <a:spcPts val="1176"/>
              </a:spcBef>
              <a:spcAft>
                <a:spcPts val="0"/>
              </a:spcAft>
              <a:buNone/>
              <a:defRPr lang="en-US" sz="196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marL="166514" lvl="0" indent="-166514" algn="l" defTabSz="498603" rtl="0" eaLnBrk="1" latinLnBrk="0" hangingPunct="1">
              <a:lnSpc>
                <a:spcPct val="114000"/>
              </a:lnSpc>
              <a:spcBef>
                <a:spcPct val="20000"/>
              </a:spcBef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/>
              <a:t>Level 1</a:t>
            </a:r>
          </a:p>
          <a:p>
            <a:pPr marL="334586" lvl="1" indent="-171182" algn="l" defTabSz="498603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/>
              <a:t>Level 2</a:t>
            </a:r>
          </a:p>
          <a:p>
            <a:pPr marL="501099" lvl="2" indent="-174294" algn="l" defTabSz="498603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/>
              <a:t>Level 3</a:t>
            </a:r>
          </a:p>
          <a:p>
            <a:pPr marL="622483" lvl="3" indent="-130721" algn="l" defTabSz="498603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/>
              <a:t>Level 4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93096" y="341177"/>
            <a:ext cx="10819785" cy="766329"/>
          </a:xfrm>
        </p:spPr>
        <p:txBody>
          <a:bodyPr lIns="0" tIns="0" rIns="0" bIns="0" anchor="t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5294" b="0" kern="1200" cap="none" spc="-98" baseline="0" dirty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246578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37789" y="1695878"/>
            <a:ext cx="10773081" cy="2984830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176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1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Level 1</a:t>
            </a:r>
          </a:p>
          <a:p>
            <a:pPr lvl="0"/>
            <a:r>
              <a:rPr lang="en-US"/>
              <a:t>Level 2</a:t>
            </a:r>
          </a:p>
          <a:p>
            <a:pPr lvl="0"/>
            <a:r>
              <a:rPr lang="en-US"/>
              <a:t>Level 3</a:t>
            </a:r>
          </a:p>
          <a:p>
            <a:pPr lvl="0"/>
            <a:r>
              <a:rPr lang="en-US"/>
              <a:t>Level 4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91085" y="340280"/>
            <a:ext cx="10819785" cy="766329"/>
          </a:xfrm>
        </p:spPr>
        <p:txBody>
          <a:bodyPr lIns="0" tIns="0" rIns="0" bIns="0" anchor="t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5294" b="0" kern="1200" cap="none" spc="-98" baseline="0" dirty="0">
                <a:gradFill>
                  <a:gsLst>
                    <a:gs pos="79646">
                      <a:schemeClr val="tx1"/>
                    </a:gs>
                    <a:gs pos="63000">
                      <a:schemeClr val="tx1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2002147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309899" y="2139234"/>
            <a:ext cx="5426108" cy="2604438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308037" y="1642174"/>
            <a:ext cx="5427399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8" name="Text Placeholder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27079" y="2139234"/>
            <a:ext cx="5426108" cy="2604438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27550" y="1642174"/>
            <a:ext cx="5427399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87060" y="335067"/>
            <a:ext cx="10819785" cy="766329"/>
          </a:xfrm>
        </p:spPr>
        <p:txBody>
          <a:bodyPr lIns="0" tIns="0" rIns="0" bIns="0" anchor="t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5294" b="0" kern="1200" cap="none" spc="-98" baseline="0" dirty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5708933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pos="4970">
          <p15:clr>
            <a:srgbClr val="FBAE40"/>
          </p15:clr>
        </p15:guide>
        <p15:guide id="2" pos="2570">
          <p15:clr>
            <a:srgbClr val="FBAE40"/>
          </p15:clr>
        </p15:guide>
        <p15:guide id="3" pos="2864">
          <p15:clr>
            <a:srgbClr val="FBAE40"/>
          </p15:clr>
        </p15:guide>
        <p15:guide id="4" pos="5264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WO COLUMN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309899" y="2139234"/>
            <a:ext cx="5426108" cy="2604438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308037" y="1642174"/>
            <a:ext cx="5427399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8" name="Text Placeholder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27079" y="2139234"/>
            <a:ext cx="5426108" cy="2604438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27550" y="1642174"/>
            <a:ext cx="5427399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87060" y="335067"/>
            <a:ext cx="10819785" cy="766329"/>
          </a:xfrm>
        </p:spPr>
        <p:txBody>
          <a:bodyPr lIns="0" tIns="0" rIns="0" bIns="0" anchor="t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5294" b="0" kern="1200" cap="none" spc="-98" baseline="0" dirty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055748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pos="4970">
          <p15:clr>
            <a:srgbClr val="FBAE40"/>
          </p15:clr>
        </p15:guide>
        <p15:guide id="2" pos="2570">
          <p15:clr>
            <a:srgbClr val="FBAE40"/>
          </p15:clr>
        </p15:guide>
        <p15:guide id="3" pos="2864">
          <p15:clr>
            <a:srgbClr val="FBAE40"/>
          </p15:clr>
        </p15:guide>
        <p15:guide id="4" pos="5264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WO COLUMN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309899" y="2142010"/>
            <a:ext cx="5426108" cy="2604438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91150">
                      <a:schemeClr val="tx1"/>
                    </a:gs>
                    <a:gs pos="74000">
                      <a:schemeClr val="tx1"/>
                    </a:gs>
                  </a:gsLst>
                  <a:lin ang="5400000" scaled="1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308037" y="1644951"/>
            <a:ext cx="5427399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91150">
                      <a:schemeClr val="tx1"/>
                    </a:gs>
                    <a:gs pos="74000">
                      <a:schemeClr val="tx1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8" name="Text Placeholder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27365" y="2142010"/>
            <a:ext cx="5426108" cy="2604438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91150">
                      <a:schemeClr val="tx1"/>
                    </a:gs>
                    <a:gs pos="74000">
                      <a:schemeClr val="tx1"/>
                    </a:gs>
                  </a:gsLst>
                  <a:lin ang="5400000" scaled="1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27836" y="1644951"/>
            <a:ext cx="5427399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91150">
                      <a:schemeClr val="tx1"/>
                    </a:gs>
                    <a:gs pos="74000">
                      <a:schemeClr val="tx1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91965" y="340281"/>
            <a:ext cx="10819785" cy="766329"/>
          </a:xfrm>
        </p:spPr>
        <p:txBody>
          <a:bodyPr lIns="0" tIns="0" rIns="0" bIns="0" anchor="t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5294" b="0" kern="1200" cap="none" spc="-98" baseline="0" dirty="0">
                <a:gradFill>
                  <a:gsLst>
                    <a:gs pos="91150">
                      <a:schemeClr val="tx1"/>
                    </a:gs>
                    <a:gs pos="74000">
                      <a:schemeClr val="tx1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4441050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pos="4970">
          <p15:clr>
            <a:srgbClr val="FBAE40"/>
          </p15:clr>
        </p15:guide>
        <p15:guide id="2" pos="2570">
          <p15:clr>
            <a:srgbClr val="FBAE40"/>
          </p15:clr>
        </p15:guide>
        <p15:guide id="3" pos="2864">
          <p15:clr>
            <a:srgbClr val="FBAE40"/>
          </p15:clr>
        </p15:guide>
        <p15:guide id="4" pos="526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8585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833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8301061" y="2142443"/>
            <a:ext cx="3451995" cy="2604438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8299183" y="1645383"/>
            <a:ext cx="3452817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370003" y="2142443"/>
            <a:ext cx="3451995" cy="2604438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369592" y="1645383"/>
            <a:ext cx="3452817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8" name="Text Placeholder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27079" y="2142443"/>
            <a:ext cx="3451995" cy="2604438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27550" y="1645383"/>
            <a:ext cx="3452817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87059" y="335067"/>
            <a:ext cx="11415867" cy="766329"/>
          </a:xfrm>
        </p:spPr>
        <p:txBody>
          <a:bodyPr lIns="0" tIns="0" rIns="0" bIns="0" anchor="t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5294" b="0" kern="1200" cap="none" spc="-98" baseline="0" dirty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0776754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pos="5045">
          <p15:clr>
            <a:srgbClr val="FBAE40"/>
          </p15:clr>
        </p15:guide>
        <p15:guide id="2" pos="2501">
          <p15:clr>
            <a:srgbClr val="FBAE40"/>
          </p15:clr>
        </p15:guide>
        <p15:guide id="3" pos="2789">
          <p15:clr>
            <a:srgbClr val="FBAE40"/>
          </p15:clr>
        </p15:guide>
        <p15:guide id="4" pos="5333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05746" y="672415"/>
            <a:ext cx="8371820" cy="4767680"/>
          </a:xfrm>
        </p:spPr>
        <p:txBody>
          <a:bodyPr lIns="0" tIns="0" rIns="0" bIns="0" anchor="ctr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4705" b="0" kern="1200" cap="none" spc="-98" baseline="0" dirty="0">
                <a:gradFill>
                  <a:gsLst>
                    <a:gs pos="79646">
                      <a:schemeClr val="tx1"/>
                    </a:gs>
                    <a:gs pos="63000">
                      <a:schemeClr val="tx1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tatement</a:t>
            </a:r>
          </a:p>
        </p:txBody>
      </p:sp>
    </p:spTree>
    <p:extLst>
      <p:ext uri="{BB962C8B-B14F-4D97-AF65-F5344CB8AC3E}">
        <p14:creationId xmlns:p14="http://schemas.microsoft.com/office/powerpoint/2010/main" val="18380867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AGENDA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2221031" y="4047845"/>
            <a:ext cx="9514976" cy="349007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42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425338" y="4047845"/>
            <a:ext cx="1620849" cy="349007"/>
          </a:xfrm>
        </p:spPr>
        <p:txBody>
          <a:bodyPr lIns="0" tIns="0" rIns="0" bIns="0" anchor="t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88496">
                      <a:schemeClr val="accent4"/>
                    </a:gs>
                    <a:gs pos="53097">
                      <a:schemeClr val="accent4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425338" y="3582852"/>
            <a:ext cx="1620849" cy="349007"/>
          </a:xfrm>
        </p:spPr>
        <p:txBody>
          <a:bodyPr lIns="0" tIns="0" rIns="0" bIns="0" anchor="t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88496">
                      <a:schemeClr val="accent4"/>
                    </a:gs>
                    <a:gs pos="53097">
                      <a:schemeClr val="accent4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2221031" y="3582852"/>
            <a:ext cx="9514976" cy="349007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2221031" y="3117861"/>
            <a:ext cx="9514976" cy="349007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425338" y="3117861"/>
            <a:ext cx="1620849" cy="349007"/>
          </a:xfrm>
        </p:spPr>
        <p:txBody>
          <a:bodyPr lIns="0" tIns="0" rIns="0" bIns="0" anchor="t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88496">
                      <a:schemeClr val="accent4"/>
                    </a:gs>
                    <a:gs pos="53097">
                      <a:schemeClr val="accent4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2221031" y="2652857"/>
            <a:ext cx="9514976" cy="349007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425338" y="2652859"/>
            <a:ext cx="1620849" cy="349007"/>
          </a:xfrm>
        </p:spPr>
        <p:txBody>
          <a:bodyPr lIns="0" tIns="0" rIns="0" bIns="0" anchor="t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88496">
                      <a:schemeClr val="accent4"/>
                    </a:gs>
                    <a:gs pos="53097">
                      <a:schemeClr val="accent4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221031" y="2187867"/>
            <a:ext cx="9514976" cy="349007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25338" y="2187869"/>
            <a:ext cx="1620849" cy="349007"/>
          </a:xfrm>
        </p:spPr>
        <p:txBody>
          <a:bodyPr lIns="0" tIns="0" rIns="0" bIns="0" anchor="t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88496">
                      <a:schemeClr val="accent4"/>
                    </a:gs>
                    <a:gs pos="53097">
                      <a:schemeClr val="accent4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2221031" y="1722887"/>
            <a:ext cx="9514976" cy="349007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25338" y="1722887"/>
            <a:ext cx="1620849" cy="349007"/>
          </a:xfrm>
        </p:spPr>
        <p:txBody>
          <a:bodyPr lIns="0" tIns="0" rIns="0" bIns="0" anchor="t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88496">
                      <a:schemeClr val="accent4"/>
                    </a:gs>
                    <a:gs pos="53097">
                      <a:schemeClr val="accent4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87059" y="335067"/>
            <a:ext cx="11348947" cy="766329"/>
          </a:xfrm>
        </p:spPr>
        <p:txBody>
          <a:bodyPr lIns="0" tIns="0" rIns="0" bIns="0" anchor="t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5294" b="0" kern="1200" cap="none" spc="-98" baseline="0" dirty="0">
                <a:gradFill>
                  <a:gsLst>
                    <a:gs pos="88496">
                      <a:schemeClr val="accent4"/>
                    </a:gs>
                    <a:gs pos="53097">
                      <a:schemeClr val="accent4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864745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>
          <a:xfrm>
            <a:off x="9" y="0"/>
            <a:ext cx="11507609" cy="6859191"/>
          </a:xfrm>
          <a:custGeom>
            <a:avLst/>
            <a:gdLst>
              <a:gd name="connsiteX0" fmla="*/ 0 w 11504613"/>
              <a:gd name="connsiteY0" fmla="*/ 0 h 6995740"/>
              <a:gd name="connsiteX1" fmla="*/ 8979202 w 11504613"/>
              <a:gd name="connsiteY1" fmla="*/ 0 h 6995740"/>
              <a:gd name="connsiteX2" fmla="*/ 5278038 w 11504613"/>
              <a:gd name="connsiteY2" fmla="*/ 6995739 h 6995740"/>
              <a:gd name="connsiteX3" fmla="*/ 11504613 w 11504613"/>
              <a:gd name="connsiteY3" fmla="*/ 6995739 h 6995740"/>
              <a:gd name="connsiteX4" fmla="*/ 11504613 w 11504613"/>
              <a:gd name="connsiteY4" fmla="*/ 6995740 h 6995740"/>
              <a:gd name="connsiteX5" fmla="*/ 0 w 11504613"/>
              <a:gd name="connsiteY5" fmla="*/ 6995740 h 6995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04613" h="6995740">
                <a:moveTo>
                  <a:pt x="0" y="0"/>
                </a:moveTo>
                <a:lnTo>
                  <a:pt x="8979202" y="0"/>
                </a:lnTo>
                <a:lnTo>
                  <a:pt x="5278038" y="6995739"/>
                </a:lnTo>
                <a:lnTo>
                  <a:pt x="11504613" y="6995739"/>
                </a:lnTo>
                <a:lnTo>
                  <a:pt x="11504613" y="6995740"/>
                </a:lnTo>
                <a:lnTo>
                  <a:pt x="0" y="69957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0">
              <a:gradFill>
                <a:gsLst>
                  <a:gs pos="53097">
                    <a:schemeClr val="tx1"/>
                  </a:gs>
                  <a:gs pos="29000">
                    <a:schemeClr val="tx1"/>
                  </a:gs>
                </a:gsLst>
                <a:lin ang="5400000" scaled="1"/>
              </a:gradFill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86866" y="334910"/>
            <a:ext cx="6727600" cy="766329"/>
          </a:xfrm>
        </p:spPr>
        <p:txBody>
          <a:bodyPr lIns="0" tIns="0" rIns="0" bIns="0" anchor="t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5294" b="0" kern="1200" cap="none" spc="-98" baseline="0" dirty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26899" y="2139924"/>
            <a:ext cx="5014449" cy="2604438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27365" y="1642864"/>
            <a:ext cx="6073005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2655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8560173" y="2139924"/>
            <a:ext cx="3175834" cy="2604438"/>
          </a:xfrm>
        </p:spPr>
        <p:txBody>
          <a:bodyPr lIns="0" tIns="0" rIns="0" bIns="0">
            <a:noAutofit/>
          </a:bodyPr>
          <a:lstStyle>
            <a:lvl1pPr marL="169629" marR="0" indent="-169629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961" b="0" kern="1200" cap="none" spc="0" baseline="0" dirty="0" smtClean="0">
                <a:gradFill>
                  <a:gsLst>
                    <a:gs pos="73451">
                      <a:schemeClr val="bg1"/>
                    </a:gs>
                    <a:gs pos="54867">
                      <a:schemeClr val="bg1"/>
                    </a:gs>
                  </a:gsLst>
                  <a:lin ang="5400000" scaled="1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8558307" y="1642864"/>
            <a:ext cx="3177588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73451">
                      <a:schemeClr val="bg1"/>
                    </a:gs>
                    <a:gs pos="54867">
                      <a:schemeClr val="bg1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Freeform 13"/>
          <p:cNvSpPr>
            <a:spLocks noEditPoints="1"/>
          </p:cNvSpPr>
          <p:nvPr userDrawn="1"/>
        </p:nvSpPr>
        <p:spPr bwMode="auto">
          <a:xfrm>
            <a:off x="9035686" y="6255270"/>
            <a:ext cx="2700321" cy="197242"/>
          </a:xfrm>
          <a:custGeom>
            <a:avLst/>
            <a:gdLst>
              <a:gd name="T0" fmla="*/ 4039 w 6853"/>
              <a:gd name="T1" fmla="*/ 140 h 495"/>
              <a:gd name="T2" fmla="*/ 3975 w 6853"/>
              <a:gd name="T3" fmla="*/ 270 h 495"/>
              <a:gd name="T4" fmla="*/ 4302 w 6853"/>
              <a:gd name="T5" fmla="*/ 140 h 495"/>
              <a:gd name="T6" fmla="*/ 4368 w 6853"/>
              <a:gd name="T7" fmla="*/ 146 h 495"/>
              <a:gd name="T8" fmla="*/ 4446 w 6853"/>
              <a:gd name="T9" fmla="*/ 255 h 495"/>
              <a:gd name="T10" fmla="*/ 4620 w 6853"/>
              <a:gd name="T11" fmla="*/ 164 h 495"/>
              <a:gd name="T12" fmla="*/ 4990 w 6853"/>
              <a:gd name="T13" fmla="*/ 274 h 495"/>
              <a:gd name="T14" fmla="*/ 5032 w 6853"/>
              <a:gd name="T15" fmla="*/ 180 h 495"/>
              <a:gd name="T16" fmla="*/ 5029 w 6853"/>
              <a:gd name="T17" fmla="*/ 119 h 495"/>
              <a:gd name="T18" fmla="*/ 5141 w 6853"/>
              <a:gd name="T19" fmla="*/ 348 h 495"/>
              <a:gd name="T20" fmla="*/ 5223 w 6853"/>
              <a:gd name="T21" fmla="*/ 140 h 495"/>
              <a:gd name="T22" fmla="*/ 5367 w 6853"/>
              <a:gd name="T23" fmla="*/ 312 h 495"/>
              <a:gd name="T24" fmla="*/ 5554 w 6853"/>
              <a:gd name="T25" fmla="*/ 377 h 495"/>
              <a:gd name="T26" fmla="*/ 5462 w 6853"/>
              <a:gd name="T27" fmla="*/ 251 h 495"/>
              <a:gd name="T28" fmla="*/ 5805 w 6853"/>
              <a:gd name="T29" fmla="*/ 165 h 495"/>
              <a:gd name="T30" fmla="*/ 5633 w 6853"/>
              <a:gd name="T31" fmla="*/ 253 h 495"/>
              <a:gd name="T32" fmla="*/ 5918 w 6853"/>
              <a:gd name="T33" fmla="*/ 24 h 495"/>
              <a:gd name="T34" fmla="*/ 6179 w 6853"/>
              <a:gd name="T35" fmla="*/ 377 h 495"/>
              <a:gd name="T36" fmla="*/ 6032 w 6853"/>
              <a:gd name="T37" fmla="*/ 171 h 495"/>
              <a:gd name="T38" fmla="*/ 6453 w 6853"/>
              <a:gd name="T39" fmla="*/ 355 h 495"/>
              <a:gd name="T40" fmla="*/ 6444 w 6853"/>
              <a:gd name="T41" fmla="*/ 231 h 495"/>
              <a:gd name="T42" fmla="*/ 6636 w 6853"/>
              <a:gd name="T43" fmla="*/ 314 h 495"/>
              <a:gd name="T44" fmla="*/ 6554 w 6853"/>
              <a:gd name="T45" fmla="*/ 153 h 495"/>
              <a:gd name="T46" fmla="*/ 6708 w 6853"/>
              <a:gd name="T47" fmla="*/ 338 h 495"/>
              <a:gd name="T48" fmla="*/ 6846 w 6853"/>
              <a:gd name="T49" fmla="*/ 132 h 495"/>
              <a:gd name="T50" fmla="*/ 6769 w 6853"/>
              <a:gd name="T51" fmla="*/ 383 h 495"/>
              <a:gd name="T52" fmla="*/ 3745 w 6853"/>
              <a:gd name="T53" fmla="*/ 222 h 495"/>
              <a:gd name="T54" fmla="*/ 3550 w 6853"/>
              <a:gd name="T55" fmla="*/ 255 h 495"/>
              <a:gd name="T56" fmla="*/ 3737 w 6853"/>
              <a:gd name="T57" fmla="*/ 462 h 495"/>
              <a:gd name="T58" fmla="*/ 3324 w 6853"/>
              <a:gd name="T59" fmla="*/ 125 h 495"/>
              <a:gd name="T60" fmla="*/ 3493 w 6853"/>
              <a:gd name="T61" fmla="*/ 377 h 495"/>
              <a:gd name="T62" fmla="*/ 3210 w 6853"/>
              <a:gd name="T63" fmla="*/ 24 h 495"/>
              <a:gd name="T64" fmla="*/ 2956 w 6853"/>
              <a:gd name="T65" fmla="*/ 171 h 495"/>
              <a:gd name="T66" fmla="*/ 3102 w 6853"/>
              <a:gd name="T67" fmla="*/ 377 h 495"/>
              <a:gd name="T68" fmla="*/ 2769 w 6853"/>
              <a:gd name="T69" fmla="*/ 377 h 495"/>
              <a:gd name="T70" fmla="*/ 2603 w 6853"/>
              <a:gd name="T71" fmla="*/ 251 h 495"/>
              <a:gd name="T72" fmla="*/ 2673 w 6853"/>
              <a:gd name="T73" fmla="*/ 143 h 495"/>
              <a:gd name="T74" fmla="*/ 2585 w 6853"/>
              <a:gd name="T75" fmla="*/ 383 h 495"/>
              <a:gd name="T76" fmla="*/ 2417 w 6853"/>
              <a:gd name="T77" fmla="*/ 163 h 495"/>
              <a:gd name="T78" fmla="*/ 2253 w 6853"/>
              <a:gd name="T79" fmla="*/ 249 h 495"/>
              <a:gd name="T80" fmla="*/ 2212 w 6853"/>
              <a:gd name="T81" fmla="*/ 377 h 495"/>
              <a:gd name="T82" fmla="*/ 1820 w 6853"/>
              <a:gd name="T83" fmla="*/ 350 h 495"/>
              <a:gd name="T84" fmla="*/ 1744 w 6853"/>
              <a:gd name="T85" fmla="*/ 146 h 495"/>
              <a:gd name="T86" fmla="*/ 1641 w 6853"/>
              <a:gd name="T87" fmla="*/ 81 h 495"/>
              <a:gd name="T88" fmla="*/ 1663 w 6853"/>
              <a:gd name="T89" fmla="*/ 125 h 495"/>
              <a:gd name="T90" fmla="*/ 1393 w 6853"/>
              <a:gd name="T91" fmla="*/ 332 h 495"/>
              <a:gd name="T92" fmla="*/ 1343 w 6853"/>
              <a:gd name="T93" fmla="*/ 252 h 495"/>
              <a:gd name="T94" fmla="*/ 1184 w 6853"/>
              <a:gd name="T95" fmla="*/ 209 h 495"/>
              <a:gd name="T96" fmla="*/ 1221 w 6853"/>
              <a:gd name="T97" fmla="*/ 261 h 495"/>
              <a:gd name="T98" fmla="*/ 1058 w 6853"/>
              <a:gd name="T99" fmla="*/ 333 h 495"/>
              <a:gd name="T100" fmla="*/ 991 w 6853"/>
              <a:gd name="T101" fmla="*/ 119 h 495"/>
              <a:gd name="T102" fmla="*/ 755 w 6853"/>
              <a:gd name="T103" fmla="*/ 181 h 495"/>
              <a:gd name="T104" fmla="*/ 851 w 6853"/>
              <a:gd name="T105" fmla="*/ 125 h 495"/>
              <a:gd name="T106" fmla="*/ 675 w 6853"/>
              <a:gd name="T107" fmla="*/ 131 h 495"/>
              <a:gd name="T108" fmla="*/ 674 w 6853"/>
              <a:gd name="T109" fmla="*/ 342 h 495"/>
              <a:gd name="T110" fmla="*/ 421 w 6853"/>
              <a:gd name="T111" fmla="*/ 24 h 495"/>
              <a:gd name="T112" fmla="*/ 164 w 6853"/>
              <a:gd name="T113" fmla="*/ 337 h 495"/>
              <a:gd name="T114" fmla="*/ 23 w 6853"/>
              <a:gd name="T115" fmla="*/ 74 h 495"/>
              <a:gd name="T116" fmla="*/ 325 w 6853"/>
              <a:gd name="T117" fmla="*/ 377 h 4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853" h="495">
                <a:moveTo>
                  <a:pt x="4100" y="377"/>
                </a:moveTo>
                <a:cubicBezTo>
                  <a:pt x="4100" y="326"/>
                  <a:pt x="4100" y="326"/>
                  <a:pt x="4100" y="326"/>
                </a:cubicBezTo>
                <a:cubicBezTo>
                  <a:pt x="4099" y="326"/>
                  <a:pt x="4099" y="326"/>
                  <a:pt x="4099" y="326"/>
                </a:cubicBezTo>
                <a:cubicBezTo>
                  <a:pt x="4091" y="344"/>
                  <a:pt x="4080" y="357"/>
                  <a:pt x="4064" y="367"/>
                </a:cubicBezTo>
                <a:cubicBezTo>
                  <a:pt x="4049" y="378"/>
                  <a:pt x="4032" y="383"/>
                  <a:pt x="4013" y="383"/>
                </a:cubicBezTo>
                <a:cubicBezTo>
                  <a:pt x="3989" y="383"/>
                  <a:pt x="3970" y="376"/>
                  <a:pt x="3957" y="363"/>
                </a:cubicBezTo>
                <a:cubicBezTo>
                  <a:pt x="3943" y="349"/>
                  <a:pt x="3936" y="332"/>
                  <a:pt x="3936" y="312"/>
                </a:cubicBezTo>
                <a:cubicBezTo>
                  <a:pt x="3936" y="268"/>
                  <a:pt x="3965" y="241"/>
                  <a:pt x="4023" y="232"/>
                </a:cubicBezTo>
                <a:cubicBezTo>
                  <a:pt x="4100" y="221"/>
                  <a:pt x="4100" y="221"/>
                  <a:pt x="4100" y="221"/>
                </a:cubicBezTo>
                <a:cubicBezTo>
                  <a:pt x="4100" y="167"/>
                  <a:pt x="4080" y="140"/>
                  <a:pt x="4039" y="140"/>
                </a:cubicBezTo>
                <a:cubicBezTo>
                  <a:pt x="4012" y="140"/>
                  <a:pt x="3985" y="151"/>
                  <a:pt x="3958" y="173"/>
                </a:cubicBezTo>
                <a:cubicBezTo>
                  <a:pt x="3958" y="146"/>
                  <a:pt x="3958" y="146"/>
                  <a:pt x="3958" y="146"/>
                </a:cubicBezTo>
                <a:cubicBezTo>
                  <a:pt x="3968" y="138"/>
                  <a:pt x="3980" y="132"/>
                  <a:pt x="3996" y="127"/>
                </a:cubicBezTo>
                <a:cubicBezTo>
                  <a:pt x="4012" y="122"/>
                  <a:pt x="4027" y="119"/>
                  <a:pt x="4042" y="119"/>
                </a:cubicBezTo>
                <a:cubicBezTo>
                  <a:pt x="4067" y="119"/>
                  <a:pt x="4087" y="127"/>
                  <a:pt x="4102" y="143"/>
                </a:cubicBezTo>
                <a:cubicBezTo>
                  <a:pt x="4116" y="159"/>
                  <a:pt x="4123" y="182"/>
                  <a:pt x="4123" y="213"/>
                </a:cubicBezTo>
                <a:cubicBezTo>
                  <a:pt x="4123" y="377"/>
                  <a:pt x="4123" y="377"/>
                  <a:pt x="4123" y="377"/>
                </a:cubicBezTo>
                <a:lnTo>
                  <a:pt x="4100" y="377"/>
                </a:lnTo>
                <a:close/>
                <a:moveTo>
                  <a:pt x="4031" y="251"/>
                </a:moveTo>
                <a:cubicBezTo>
                  <a:pt x="4005" y="255"/>
                  <a:pt x="3986" y="261"/>
                  <a:pt x="3975" y="270"/>
                </a:cubicBezTo>
                <a:cubicBezTo>
                  <a:pt x="3965" y="278"/>
                  <a:pt x="3959" y="292"/>
                  <a:pt x="3959" y="311"/>
                </a:cubicBezTo>
                <a:cubicBezTo>
                  <a:pt x="3959" y="326"/>
                  <a:pt x="3964" y="338"/>
                  <a:pt x="3974" y="348"/>
                </a:cubicBezTo>
                <a:cubicBezTo>
                  <a:pt x="3984" y="357"/>
                  <a:pt x="3998" y="362"/>
                  <a:pt x="4016" y="362"/>
                </a:cubicBezTo>
                <a:cubicBezTo>
                  <a:pt x="4040" y="362"/>
                  <a:pt x="4060" y="353"/>
                  <a:pt x="4076" y="335"/>
                </a:cubicBezTo>
                <a:cubicBezTo>
                  <a:pt x="4092" y="317"/>
                  <a:pt x="4100" y="294"/>
                  <a:pt x="4100" y="266"/>
                </a:cubicBezTo>
                <a:cubicBezTo>
                  <a:pt x="4100" y="241"/>
                  <a:pt x="4100" y="241"/>
                  <a:pt x="4100" y="241"/>
                </a:cubicBezTo>
                <a:lnTo>
                  <a:pt x="4031" y="251"/>
                </a:lnTo>
                <a:close/>
                <a:moveTo>
                  <a:pt x="4367" y="377"/>
                </a:moveTo>
                <a:cubicBezTo>
                  <a:pt x="4367" y="230"/>
                  <a:pt x="4367" y="230"/>
                  <a:pt x="4367" y="230"/>
                </a:cubicBezTo>
                <a:cubicBezTo>
                  <a:pt x="4367" y="170"/>
                  <a:pt x="4346" y="140"/>
                  <a:pt x="4302" y="140"/>
                </a:cubicBezTo>
                <a:cubicBezTo>
                  <a:pt x="4278" y="140"/>
                  <a:pt x="4258" y="149"/>
                  <a:pt x="4242" y="166"/>
                </a:cubicBezTo>
                <a:cubicBezTo>
                  <a:pt x="4227" y="184"/>
                  <a:pt x="4219" y="206"/>
                  <a:pt x="4219" y="232"/>
                </a:cubicBezTo>
                <a:cubicBezTo>
                  <a:pt x="4219" y="377"/>
                  <a:pt x="4219" y="377"/>
                  <a:pt x="4219" y="377"/>
                </a:cubicBezTo>
                <a:cubicBezTo>
                  <a:pt x="4196" y="377"/>
                  <a:pt x="4196" y="377"/>
                  <a:pt x="4196" y="377"/>
                </a:cubicBezTo>
                <a:cubicBezTo>
                  <a:pt x="4196" y="125"/>
                  <a:pt x="4196" y="125"/>
                  <a:pt x="4196" y="125"/>
                </a:cubicBezTo>
                <a:cubicBezTo>
                  <a:pt x="4219" y="125"/>
                  <a:pt x="4219" y="125"/>
                  <a:pt x="4219" y="125"/>
                </a:cubicBezTo>
                <a:cubicBezTo>
                  <a:pt x="4219" y="171"/>
                  <a:pt x="4219" y="171"/>
                  <a:pt x="4219" y="171"/>
                </a:cubicBezTo>
                <a:cubicBezTo>
                  <a:pt x="4220" y="171"/>
                  <a:pt x="4220" y="171"/>
                  <a:pt x="4220" y="171"/>
                </a:cubicBezTo>
                <a:cubicBezTo>
                  <a:pt x="4238" y="136"/>
                  <a:pt x="4267" y="119"/>
                  <a:pt x="4306" y="119"/>
                </a:cubicBezTo>
                <a:cubicBezTo>
                  <a:pt x="4333" y="119"/>
                  <a:pt x="4354" y="128"/>
                  <a:pt x="4368" y="146"/>
                </a:cubicBezTo>
                <a:cubicBezTo>
                  <a:pt x="4383" y="164"/>
                  <a:pt x="4390" y="190"/>
                  <a:pt x="4390" y="224"/>
                </a:cubicBezTo>
                <a:cubicBezTo>
                  <a:pt x="4390" y="377"/>
                  <a:pt x="4390" y="377"/>
                  <a:pt x="4390" y="377"/>
                </a:cubicBezTo>
                <a:lnTo>
                  <a:pt x="4367" y="377"/>
                </a:lnTo>
                <a:close/>
                <a:moveTo>
                  <a:pt x="4642" y="377"/>
                </a:moveTo>
                <a:cubicBezTo>
                  <a:pt x="4642" y="331"/>
                  <a:pt x="4642" y="331"/>
                  <a:pt x="4642" y="331"/>
                </a:cubicBezTo>
                <a:cubicBezTo>
                  <a:pt x="4641" y="331"/>
                  <a:pt x="4641" y="331"/>
                  <a:pt x="4641" y="331"/>
                </a:cubicBezTo>
                <a:cubicBezTo>
                  <a:pt x="4633" y="347"/>
                  <a:pt x="4621" y="360"/>
                  <a:pt x="4605" y="369"/>
                </a:cubicBezTo>
                <a:cubicBezTo>
                  <a:pt x="4589" y="378"/>
                  <a:pt x="4571" y="383"/>
                  <a:pt x="4551" y="383"/>
                </a:cubicBezTo>
                <a:cubicBezTo>
                  <a:pt x="4520" y="383"/>
                  <a:pt x="4494" y="372"/>
                  <a:pt x="4475" y="349"/>
                </a:cubicBezTo>
                <a:cubicBezTo>
                  <a:pt x="4455" y="326"/>
                  <a:pt x="4446" y="295"/>
                  <a:pt x="4446" y="255"/>
                </a:cubicBezTo>
                <a:cubicBezTo>
                  <a:pt x="4446" y="215"/>
                  <a:pt x="4456" y="182"/>
                  <a:pt x="4478" y="157"/>
                </a:cubicBezTo>
                <a:cubicBezTo>
                  <a:pt x="4499" y="132"/>
                  <a:pt x="4527" y="119"/>
                  <a:pt x="4561" y="119"/>
                </a:cubicBezTo>
                <a:cubicBezTo>
                  <a:pt x="4598" y="119"/>
                  <a:pt x="4625" y="134"/>
                  <a:pt x="4641" y="165"/>
                </a:cubicBezTo>
                <a:cubicBezTo>
                  <a:pt x="4642" y="165"/>
                  <a:pt x="4642" y="165"/>
                  <a:pt x="4642" y="165"/>
                </a:cubicBezTo>
                <a:cubicBezTo>
                  <a:pt x="4642" y="4"/>
                  <a:pt x="4642" y="4"/>
                  <a:pt x="4642" y="4"/>
                </a:cubicBezTo>
                <a:cubicBezTo>
                  <a:pt x="4665" y="4"/>
                  <a:pt x="4665" y="4"/>
                  <a:pt x="4665" y="4"/>
                </a:cubicBezTo>
                <a:cubicBezTo>
                  <a:pt x="4665" y="377"/>
                  <a:pt x="4665" y="377"/>
                  <a:pt x="4665" y="377"/>
                </a:cubicBezTo>
                <a:lnTo>
                  <a:pt x="4642" y="377"/>
                </a:lnTo>
                <a:close/>
                <a:moveTo>
                  <a:pt x="4642" y="224"/>
                </a:moveTo>
                <a:cubicBezTo>
                  <a:pt x="4642" y="200"/>
                  <a:pt x="4635" y="180"/>
                  <a:pt x="4620" y="164"/>
                </a:cubicBezTo>
                <a:cubicBezTo>
                  <a:pt x="4605" y="148"/>
                  <a:pt x="4585" y="140"/>
                  <a:pt x="4560" y="140"/>
                </a:cubicBezTo>
                <a:cubicBezTo>
                  <a:pt x="4534" y="140"/>
                  <a:pt x="4512" y="150"/>
                  <a:pt x="4495" y="170"/>
                </a:cubicBezTo>
                <a:cubicBezTo>
                  <a:pt x="4478" y="190"/>
                  <a:pt x="4469" y="218"/>
                  <a:pt x="4469" y="253"/>
                </a:cubicBezTo>
                <a:cubicBezTo>
                  <a:pt x="4469" y="288"/>
                  <a:pt x="4477" y="315"/>
                  <a:pt x="4492" y="334"/>
                </a:cubicBezTo>
                <a:cubicBezTo>
                  <a:pt x="4508" y="353"/>
                  <a:pt x="4528" y="362"/>
                  <a:pt x="4552" y="362"/>
                </a:cubicBezTo>
                <a:cubicBezTo>
                  <a:pt x="4581" y="362"/>
                  <a:pt x="4603" y="353"/>
                  <a:pt x="4619" y="336"/>
                </a:cubicBezTo>
                <a:cubicBezTo>
                  <a:pt x="4634" y="318"/>
                  <a:pt x="4642" y="296"/>
                  <a:pt x="4642" y="271"/>
                </a:cubicBezTo>
                <a:lnTo>
                  <a:pt x="4642" y="224"/>
                </a:lnTo>
                <a:close/>
                <a:moveTo>
                  <a:pt x="5037" y="377"/>
                </a:moveTo>
                <a:cubicBezTo>
                  <a:pt x="4990" y="274"/>
                  <a:pt x="4990" y="274"/>
                  <a:pt x="4990" y="274"/>
                </a:cubicBezTo>
                <a:cubicBezTo>
                  <a:pt x="4980" y="252"/>
                  <a:pt x="4971" y="238"/>
                  <a:pt x="4961" y="231"/>
                </a:cubicBezTo>
                <a:cubicBezTo>
                  <a:pt x="4951" y="223"/>
                  <a:pt x="4939" y="220"/>
                  <a:pt x="4925" y="220"/>
                </a:cubicBezTo>
                <a:cubicBezTo>
                  <a:pt x="4881" y="220"/>
                  <a:pt x="4881" y="220"/>
                  <a:pt x="4881" y="220"/>
                </a:cubicBezTo>
                <a:cubicBezTo>
                  <a:pt x="4881" y="377"/>
                  <a:pt x="4881" y="377"/>
                  <a:pt x="4881" y="377"/>
                </a:cubicBezTo>
                <a:cubicBezTo>
                  <a:pt x="4857" y="377"/>
                  <a:pt x="4857" y="377"/>
                  <a:pt x="4857" y="377"/>
                </a:cubicBezTo>
                <a:cubicBezTo>
                  <a:pt x="4857" y="24"/>
                  <a:pt x="4857" y="24"/>
                  <a:pt x="4857" y="24"/>
                </a:cubicBezTo>
                <a:cubicBezTo>
                  <a:pt x="4954" y="24"/>
                  <a:pt x="4954" y="24"/>
                  <a:pt x="4954" y="24"/>
                </a:cubicBezTo>
                <a:cubicBezTo>
                  <a:pt x="4985" y="24"/>
                  <a:pt x="5010" y="33"/>
                  <a:pt x="5028" y="50"/>
                </a:cubicBezTo>
                <a:cubicBezTo>
                  <a:pt x="5045" y="66"/>
                  <a:pt x="5054" y="89"/>
                  <a:pt x="5054" y="116"/>
                </a:cubicBezTo>
                <a:cubicBezTo>
                  <a:pt x="5054" y="141"/>
                  <a:pt x="5047" y="163"/>
                  <a:pt x="5032" y="180"/>
                </a:cubicBezTo>
                <a:cubicBezTo>
                  <a:pt x="5018" y="197"/>
                  <a:pt x="4997" y="208"/>
                  <a:pt x="4971" y="213"/>
                </a:cubicBezTo>
                <a:cubicBezTo>
                  <a:pt x="4971" y="214"/>
                  <a:pt x="4971" y="214"/>
                  <a:pt x="4971" y="214"/>
                </a:cubicBezTo>
                <a:cubicBezTo>
                  <a:pt x="4985" y="219"/>
                  <a:pt x="4999" y="236"/>
                  <a:pt x="5012" y="264"/>
                </a:cubicBezTo>
                <a:cubicBezTo>
                  <a:pt x="5064" y="377"/>
                  <a:pt x="5064" y="377"/>
                  <a:pt x="5064" y="377"/>
                </a:cubicBezTo>
                <a:lnTo>
                  <a:pt x="5037" y="377"/>
                </a:lnTo>
                <a:close/>
                <a:moveTo>
                  <a:pt x="4881" y="47"/>
                </a:moveTo>
                <a:cubicBezTo>
                  <a:pt x="4881" y="198"/>
                  <a:pt x="4881" y="198"/>
                  <a:pt x="4881" y="198"/>
                </a:cubicBezTo>
                <a:cubicBezTo>
                  <a:pt x="4942" y="198"/>
                  <a:pt x="4942" y="198"/>
                  <a:pt x="4942" y="198"/>
                </a:cubicBezTo>
                <a:cubicBezTo>
                  <a:pt x="4968" y="198"/>
                  <a:pt x="4990" y="191"/>
                  <a:pt x="5006" y="176"/>
                </a:cubicBezTo>
                <a:cubicBezTo>
                  <a:pt x="5021" y="162"/>
                  <a:pt x="5029" y="143"/>
                  <a:pt x="5029" y="119"/>
                </a:cubicBezTo>
                <a:cubicBezTo>
                  <a:pt x="5029" y="96"/>
                  <a:pt x="5022" y="79"/>
                  <a:pt x="5008" y="66"/>
                </a:cubicBezTo>
                <a:cubicBezTo>
                  <a:pt x="4994" y="53"/>
                  <a:pt x="4973" y="47"/>
                  <a:pt x="4947" y="47"/>
                </a:cubicBezTo>
                <a:lnTo>
                  <a:pt x="4881" y="47"/>
                </a:lnTo>
                <a:close/>
                <a:moveTo>
                  <a:pt x="5134" y="252"/>
                </a:moveTo>
                <a:cubicBezTo>
                  <a:pt x="5134" y="286"/>
                  <a:pt x="5142" y="313"/>
                  <a:pt x="5158" y="333"/>
                </a:cubicBezTo>
                <a:cubicBezTo>
                  <a:pt x="5174" y="352"/>
                  <a:pt x="5196" y="362"/>
                  <a:pt x="5224" y="362"/>
                </a:cubicBezTo>
                <a:cubicBezTo>
                  <a:pt x="5252" y="362"/>
                  <a:pt x="5280" y="352"/>
                  <a:pt x="5307" y="331"/>
                </a:cubicBezTo>
                <a:cubicBezTo>
                  <a:pt x="5307" y="355"/>
                  <a:pt x="5307" y="355"/>
                  <a:pt x="5307" y="355"/>
                </a:cubicBezTo>
                <a:cubicBezTo>
                  <a:pt x="5281" y="374"/>
                  <a:pt x="5251" y="383"/>
                  <a:pt x="5219" y="383"/>
                </a:cubicBezTo>
                <a:cubicBezTo>
                  <a:pt x="5187" y="383"/>
                  <a:pt x="5161" y="371"/>
                  <a:pt x="5141" y="348"/>
                </a:cubicBezTo>
                <a:cubicBezTo>
                  <a:pt x="5121" y="325"/>
                  <a:pt x="5111" y="292"/>
                  <a:pt x="5111" y="249"/>
                </a:cubicBezTo>
                <a:cubicBezTo>
                  <a:pt x="5111" y="213"/>
                  <a:pt x="5121" y="182"/>
                  <a:pt x="5142" y="157"/>
                </a:cubicBezTo>
                <a:cubicBezTo>
                  <a:pt x="5163" y="132"/>
                  <a:pt x="5190" y="119"/>
                  <a:pt x="5224" y="119"/>
                </a:cubicBezTo>
                <a:cubicBezTo>
                  <a:pt x="5255" y="119"/>
                  <a:pt x="5279" y="130"/>
                  <a:pt x="5296" y="152"/>
                </a:cubicBezTo>
                <a:cubicBezTo>
                  <a:pt x="5312" y="174"/>
                  <a:pt x="5321" y="204"/>
                  <a:pt x="5321" y="242"/>
                </a:cubicBezTo>
                <a:cubicBezTo>
                  <a:pt x="5321" y="252"/>
                  <a:pt x="5321" y="252"/>
                  <a:pt x="5321" y="252"/>
                </a:cubicBezTo>
                <a:lnTo>
                  <a:pt x="5134" y="252"/>
                </a:lnTo>
                <a:close/>
                <a:moveTo>
                  <a:pt x="5297" y="231"/>
                </a:moveTo>
                <a:cubicBezTo>
                  <a:pt x="5296" y="202"/>
                  <a:pt x="5289" y="180"/>
                  <a:pt x="5276" y="164"/>
                </a:cubicBezTo>
                <a:cubicBezTo>
                  <a:pt x="5263" y="148"/>
                  <a:pt x="5245" y="140"/>
                  <a:pt x="5223" y="140"/>
                </a:cubicBezTo>
                <a:cubicBezTo>
                  <a:pt x="5199" y="140"/>
                  <a:pt x="5179" y="148"/>
                  <a:pt x="5164" y="163"/>
                </a:cubicBezTo>
                <a:cubicBezTo>
                  <a:pt x="5148" y="179"/>
                  <a:pt x="5139" y="202"/>
                  <a:pt x="5135" y="231"/>
                </a:cubicBezTo>
                <a:lnTo>
                  <a:pt x="5297" y="231"/>
                </a:lnTo>
                <a:close/>
                <a:moveTo>
                  <a:pt x="5531" y="377"/>
                </a:moveTo>
                <a:cubicBezTo>
                  <a:pt x="5531" y="326"/>
                  <a:pt x="5531" y="326"/>
                  <a:pt x="5531" y="326"/>
                </a:cubicBezTo>
                <a:cubicBezTo>
                  <a:pt x="5530" y="326"/>
                  <a:pt x="5530" y="326"/>
                  <a:pt x="5530" y="326"/>
                </a:cubicBezTo>
                <a:cubicBezTo>
                  <a:pt x="5522" y="344"/>
                  <a:pt x="5511" y="357"/>
                  <a:pt x="5495" y="367"/>
                </a:cubicBezTo>
                <a:cubicBezTo>
                  <a:pt x="5480" y="378"/>
                  <a:pt x="5463" y="383"/>
                  <a:pt x="5444" y="383"/>
                </a:cubicBezTo>
                <a:cubicBezTo>
                  <a:pt x="5420" y="383"/>
                  <a:pt x="5402" y="376"/>
                  <a:pt x="5388" y="363"/>
                </a:cubicBezTo>
                <a:cubicBezTo>
                  <a:pt x="5374" y="349"/>
                  <a:pt x="5367" y="332"/>
                  <a:pt x="5367" y="312"/>
                </a:cubicBezTo>
                <a:cubicBezTo>
                  <a:pt x="5367" y="268"/>
                  <a:pt x="5396" y="241"/>
                  <a:pt x="5454" y="232"/>
                </a:cubicBezTo>
                <a:cubicBezTo>
                  <a:pt x="5531" y="221"/>
                  <a:pt x="5531" y="221"/>
                  <a:pt x="5531" y="221"/>
                </a:cubicBezTo>
                <a:cubicBezTo>
                  <a:pt x="5531" y="167"/>
                  <a:pt x="5511" y="140"/>
                  <a:pt x="5470" y="140"/>
                </a:cubicBezTo>
                <a:cubicBezTo>
                  <a:pt x="5443" y="140"/>
                  <a:pt x="5416" y="151"/>
                  <a:pt x="5390" y="173"/>
                </a:cubicBezTo>
                <a:cubicBezTo>
                  <a:pt x="5390" y="146"/>
                  <a:pt x="5390" y="146"/>
                  <a:pt x="5390" y="146"/>
                </a:cubicBezTo>
                <a:cubicBezTo>
                  <a:pt x="5399" y="138"/>
                  <a:pt x="5412" y="132"/>
                  <a:pt x="5428" y="127"/>
                </a:cubicBezTo>
                <a:cubicBezTo>
                  <a:pt x="5443" y="122"/>
                  <a:pt x="5458" y="119"/>
                  <a:pt x="5473" y="119"/>
                </a:cubicBezTo>
                <a:cubicBezTo>
                  <a:pt x="5498" y="119"/>
                  <a:pt x="5518" y="127"/>
                  <a:pt x="5533" y="143"/>
                </a:cubicBezTo>
                <a:cubicBezTo>
                  <a:pt x="5547" y="159"/>
                  <a:pt x="5554" y="182"/>
                  <a:pt x="5554" y="213"/>
                </a:cubicBezTo>
                <a:cubicBezTo>
                  <a:pt x="5554" y="377"/>
                  <a:pt x="5554" y="377"/>
                  <a:pt x="5554" y="377"/>
                </a:cubicBezTo>
                <a:lnTo>
                  <a:pt x="5531" y="377"/>
                </a:lnTo>
                <a:close/>
                <a:moveTo>
                  <a:pt x="5462" y="251"/>
                </a:moveTo>
                <a:cubicBezTo>
                  <a:pt x="5436" y="255"/>
                  <a:pt x="5417" y="261"/>
                  <a:pt x="5407" y="270"/>
                </a:cubicBezTo>
                <a:cubicBezTo>
                  <a:pt x="5396" y="278"/>
                  <a:pt x="5391" y="292"/>
                  <a:pt x="5391" y="311"/>
                </a:cubicBezTo>
                <a:cubicBezTo>
                  <a:pt x="5391" y="326"/>
                  <a:pt x="5395" y="338"/>
                  <a:pt x="5405" y="348"/>
                </a:cubicBezTo>
                <a:cubicBezTo>
                  <a:pt x="5415" y="357"/>
                  <a:pt x="5429" y="362"/>
                  <a:pt x="5447" y="362"/>
                </a:cubicBezTo>
                <a:cubicBezTo>
                  <a:pt x="5471" y="362"/>
                  <a:pt x="5491" y="353"/>
                  <a:pt x="5507" y="335"/>
                </a:cubicBezTo>
                <a:cubicBezTo>
                  <a:pt x="5523" y="317"/>
                  <a:pt x="5531" y="294"/>
                  <a:pt x="5531" y="266"/>
                </a:cubicBezTo>
                <a:cubicBezTo>
                  <a:pt x="5531" y="241"/>
                  <a:pt x="5531" y="241"/>
                  <a:pt x="5531" y="241"/>
                </a:cubicBezTo>
                <a:lnTo>
                  <a:pt x="5462" y="251"/>
                </a:lnTo>
                <a:close/>
                <a:moveTo>
                  <a:pt x="5806" y="377"/>
                </a:moveTo>
                <a:cubicBezTo>
                  <a:pt x="5806" y="331"/>
                  <a:pt x="5806" y="331"/>
                  <a:pt x="5806" y="331"/>
                </a:cubicBezTo>
                <a:cubicBezTo>
                  <a:pt x="5805" y="331"/>
                  <a:pt x="5805" y="331"/>
                  <a:pt x="5805" y="331"/>
                </a:cubicBezTo>
                <a:cubicBezTo>
                  <a:pt x="5797" y="347"/>
                  <a:pt x="5785" y="360"/>
                  <a:pt x="5769" y="369"/>
                </a:cubicBezTo>
                <a:cubicBezTo>
                  <a:pt x="5753" y="378"/>
                  <a:pt x="5735" y="383"/>
                  <a:pt x="5715" y="383"/>
                </a:cubicBezTo>
                <a:cubicBezTo>
                  <a:pt x="5684" y="383"/>
                  <a:pt x="5658" y="372"/>
                  <a:pt x="5639" y="349"/>
                </a:cubicBezTo>
                <a:cubicBezTo>
                  <a:pt x="5619" y="326"/>
                  <a:pt x="5609" y="295"/>
                  <a:pt x="5609" y="255"/>
                </a:cubicBezTo>
                <a:cubicBezTo>
                  <a:pt x="5609" y="215"/>
                  <a:pt x="5620" y="182"/>
                  <a:pt x="5641" y="157"/>
                </a:cubicBezTo>
                <a:cubicBezTo>
                  <a:pt x="5663" y="132"/>
                  <a:pt x="5691" y="119"/>
                  <a:pt x="5725" y="119"/>
                </a:cubicBezTo>
                <a:cubicBezTo>
                  <a:pt x="5762" y="119"/>
                  <a:pt x="5789" y="134"/>
                  <a:pt x="5805" y="165"/>
                </a:cubicBezTo>
                <a:cubicBezTo>
                  <a:pt x="5806" y="165"/>
                  <a:pt x="5806" y="165"/>
                  <a:pt x="5806" y="165"/>
                </a:cubicBezTo>
                <a:cubicBezTo>
                  <a:pt x="5806" y="4"/>
                  <a:pt x="5806" y="4"/>
                  <a:pt x="5806" y="4"/>
                </a:cubicBezTo>
                <a:cubicBezTo>
                  <a:pt x="5829" y="4"/>
                  <a:pt x="5829" y="4"/>
                  <a:pt x="5829" y="4"/>
                </a:cubicBezTo>
                <a:cubicBezTo>
                  <a:pt x="5829" y="377"/>
                  <a:pt x="5829" y="377"/>
                  <a:pt x="5829" y="377"/>
                </a:cubicBezTo>
                <a:lnTo>
                  <a:pt x="5806" y="377"/>
                </a:lnTo>
                <a:close/>
                <a:moveTo>
                  <a:pt x="5806" y="224"/>
                </a:moveTo>
                <a:cubicBezTo>
                  <a:pt x="5806" y="200"/>
                  <a:pt x="5799" y="180"/>
                  <a:pt x="5784" y="164"/>
                </a:cubicBezTo>
                <a:cubicBezTo>
                  <a:pt x="5769" y="148"/>
                  <a:pt x="5749" y="140"/>
                  <a:pt x="5724" y="140"/>
                </a:cubicBezTo>
                <a:cubicBezTo>
                  <a:pt x="5698" y="140"/>
                  <a:pt x="5676" y="150"/>
                  <a:pt x="5659" y="170"/>
                </a:cubicBezTo>
                <a:cubicBezTo>
                  <a:pt x="5642" y="190"/>
                  <a:pt x="5633" y="218"/>
                  <a:pt x="5633" y="253"/>
                </a:cubicBezTo>
                <a:cubicBezTo>
                  <a:pt x="5633" y="288"/>
                  <a:pt x="5641" y="315"/>
                  <a:pt x="5656" y="334"/>
                </a:cubicBezTo>
                <a:cubicBezTo>
                  <a:pt x="5672" y="353"/>
                  <a:pt x="5692" y="362"/>
                  <a:pt x="5716" y="362"/>
                </a:cubicBezTo>
                <a:cubicBezTo>
                  <a:pt x="5745" y="362"/>
                  <a:pt x="5767" y="353"/>
                  <a:pt x="5783" y="336"/>
                </a:cubicBezTo>
                <a:cubicBezTo>
                  <a:pt x="5798" y="318"/>
                  <a:pt x="5806" y="296"/>
                  <a:pt x="5806" y="271"/>
                </a:cubicBezTo>
                <a:lnTo>
                  <a:pt x="5806" y="224"/>
                </a:lnTo>
                <a:close/>
                <a:moveTo>
                  <a:pt x="5918" y="62"/>
                </a:moveTo>
                <a:cubicBezTo>
                  <a:pt x="5913" y="62"/>
                  <a:pt x="5909" y="60"/>
                  <a:pt x="5905" y="56"/>
                </a:cubicBezTo>
                <a:cubicBezTo>
                  <a:pt x="5902" y="53"/>
                  <a:pt x="5900" y="48"/>
                  <a:pt x="5900" y="43"/>
                </a:cubicBezTo>
                <a:cubicBezTo>
                  <a:pt x="5900" y="37"/>
                  <a:pt x="5902" y="33"/>
                  <a:pt x="5905" y="29"/>
                </a:cubicBezTo>
                <a:cubicBezTo>
                  <a:pt x="5909" y="26"/>
                  <a:pt x="5914" y="24"/>
                  <a:pt x="5918" y="24"/>
                </a:cubicBezTo>
                <a:cubicBezTo>
                  <a:pt x="5923" y="24"/>
                  <a:pt x="5928" y="26"/>
                  <a:pt x="5932" y="29"/>
                </a:cubicBezTo>
                <a:cubicBezTo>
                  <a:pt x="5936" y="33"/>
                  <a:pt x="5938" y="37"/>
                  <a:pt x="5938" y="43"/>
                </a:cubicBezTo>
                <a:cubicBezTo>
                  <a:pt x="5938" y="48"/>
                  <a:pt x="5936" y="52"/>
                  <a:pt x="5932" y="56"/>
                </a:cubicBezTo>
                <a:cubicBezTo>
                  <a:pt x="5928" y="60"/>
                  <a:pt x="5924" y="62"/>
                  <a:pt x="5918" y="62"/>
                </a:cubicBezTo>
                <a:close/>
                <a:moveTo>
                  <a:pt x="5907" y="377"/>
                </a:moveTo>
                <a:cubicBezTo>
                  <a:pt x="5907" y="125"/>
                  <a:pt x="5907" y="125"/>
                  <a:pt x="5907" y="125"/>
                </a:cubicBezTo>
                <a:cubicBezTo>
                  <a:pt x="5930" y="125"/>
                  <a:pt x="5930" y="125"/>
                  <a:pt x="5930" y="125"/>
                </a:cubicBezTo>
                <a:cubicBezTo>
                  <a:pt x="5930" y="377"/>
                  <a:pt x="5930" y="377"/>
                  <a:pt x="5930" y="377"/>
                </a:cubicBezTo>
                <a:lnTo>
                  <a:pt x="5907" y="377"/>
                </a:lnTo>
                <a:close/>
                <a:moveTo>
                  <a:pt x="6179" y="377"/>
                </a:moveTo>
                <a:cubicBezTo>
                  <a:pt x="6179" y="230"/>
                  <a:pt x="6179" y="230"/>
                  <a:pt x="6179" y="230"/>
                </a:cubicBezTo>
                <a:cubicBezTo>
                  <a:pt x="6179" y="170"/>
                  <a:pt x="6158" y="140"/>
                  <a:pt x="6114" y="140"/>
                </a:cubicBezTo>
                <a:cubicBezTo>
                  <a:pt x="6090" y="140"/>
                  <a:pt x="6070" y="149"/>
                  <a:pt x="6054" y="166"/>
                </a:cubicBezTo>
                <a:cubicBezTo>
                  <a:pt x="6039" y="184"/>
                  <a:pt x="6031" y="206"/>
                  <a:pt x="6031" y="232"/>
                </a:cubicBezTo>
                <a:cubicBezTo>
                  <a:pt x="6031" y="377"/>
                  <a:pt x="6031" y="377"/>
                  <a:pt x="6031" y="377"/>
                </a:cubicBezTo>
                <a:cubicBezTo>
                  <a:pt x="6008" y="377"/>
                  <a:pt x="6008" y="377"/>
                  <a:pt x="6008" y="377"/>
                </a:cubicBezTo>
                <a:cubicBezTo>
                  <a:pt x="6008" y="125"/>
                  <a:pt x="6008" y="125"/>
                  <a:pt x="6008" y="125"/>
                </a:cubicBezTo>
                <a:cubicBezTo>
                  <a:pt x="6031" y="125"/>
                  <a:pt x="6031" y="125"/>
                  <a:pt x="6031" y="125"/>
                </a:cubicBezTo>
                <a:cubicBezTo>
                  <a:pt x="6031" y="171"/>
                  <a:pt x="6031" y="171"/>
                  <a:pt x="6031" y="171"/>
                </a:cubicBezTo>
                <a:cubicBezTo>
                  <a:pt x="6032" y="171"/>
                  <a:pt x="6032" y="171"/>
                  <a:pt x="6032" y="171"/>
                </a:cubicBezTo>
                <a:cubicBezTo>
                  <a:pt x="6050" y="136"/>
                  <a:pt x="6079" y="119"/>
                  <a:pt x="6118" y="119"/>
                </a:cubicBezTo>
                <a:cubicBezTo>
                  <a:pt x="6145" y="119"/>
                  <a:pt x="6166" y="128"/>
                  <a:pt x="6180" y="146"/>
                </a:cubicBezTo>
                <a:cubicBezTo>
                  <a:pt x="6195" y="164"/>
                  <a:pt x="6202" y="190"/>
                  <a:pt x="6202" y="224"/>
                </a:cubicBezTo>
                <a:cubicBezTo>
                  <a:pt x="6202" y="377"/>
                  <a:pt x="6202" y="377"/>
                  <a:pt x="6202" y="377"/>
                </a:cubicBezTo>
                <a:lnTo>
                  <a:pt x="6179" y="377"/>
                </a:lnTo>
                <a:close/>
                <a:moveTo>
                  <a:pt x="6281" y="252"/>
                </a:moveTo>
                <a:cubicBezTo>
                  <a:pt x="6281" y="286"/>
                  <a:pt x="6289" y="313"/>
                  <a:pt x="6305" y="333"/>
                </a:cubicBezTo>
                <a:cubicBezTo>
                  <a:pt x="6321" y="352"/>
                  <a:pt x="6343" y="362"/>
                  <a:pt x="6371" y="362"/>
                </a:cubicBezTo>
                <a:cubicBezTo>
                  <a:pt x="6399" y="362"/>
                  <a:pt x="6426" y="352"/>
                  <a:pt x="6453" y="331"/>
                </a:cubicBezTo>
                <a:cubicBezTo>
                  <a:pt x="6453" y="355"/>
                  <a:pt x="6453" y="355"/>
                  <a:pt x="6453" y="355"/>
                </a:cubicBezTo>
                <a:cubicBezTo>
                  <a:pt x="6427" y="374"/>
                  <a:pt x="6398" y="383"/>
                  <a:pt x="6366" y="383"/>
                </a:cubicBezTo>
                <a:cubicBezTo>
                  <a:pt x="6334" y="383"/>
                  <a:pt x="6307" y="371"/>
                  <a:pt x="6287" y="348"/>
                </a:cubicBezTo>
                <a:cubicBezTo>
                  <a:pt x="6267" y="325"/>
                  <a:pt x="6258" y="292"/>
                  <a:pt x="6258" y="249"/>
                </a:cubicBezTo>
                <a:cubicBezTo>
                  <a:pt x="6258" y="213"/>
                  <a:pt x="6268" y="182"/>
                  <a:pt x="6289" y="157"/>
                </a:cubicBezTo>
                <a:cubicBezTo>
                  <a:pt x="6310" y="132"/>
                  <a:pt x="6337" y="119"/>
                  <a:pt x="6370" y="119"/>
                </a:cubicBezTo>
                <a:cubicBezTo>
                  <a:pt x="6402" y="119"/>
                  <a:pt x="6426" y="130"/>
                  <a:pt x="6442" y="152"/>
                </a:cubicBezTo>
                <a:cubicBezTo>
                  <a:pt x="6459" y="174"/>
                  <a:pt x="6467" y="204"/>
                  <a:pt x="6467" y="242"/>
                </a:cubicBezTo>
                <a:cubicBezTo>
                  <a:pt x="6467" y="252"/>
                  <a:pt x="6467" y="252"/>
                  <a:pt x="6467" y="252"/>
                </a:cubicBezTo>
                <a:lnTo>
                  <a:pt x="6281" y="252"/>
                </a:lnTo>
                <a:close/>
                <a:moveTo>
                  <a:pt x="6444" y="231"/>
                </a:moveTo>
                <a:cubicBezTo>
                  <a:pt x="6443" y="202"/>
                  <a:pt x="6436" y="180"/>
                  <a:pt x="6423" y="164"/>
                </a:cubicBezTo>
                <a:cubicBezTo>
                  <a:pt x="6410" y="148"/>
                  <a:pt x="6392" y="140"/>
                  <a:pt x="6369" y="140"/>
                </a:cubicBezTo>
                <a:cubicBezTo>
                  <a:pt x="6346" y="140"/>
                  <a:pt x="6326" y="148"/>
                  <a:pt x="6311" y="163"/>
                </a:cubicBezTo>
                <a:cubicBezTo>
                  <a:pt x="6295" y="179"/>
                  <a:pt x="6286" y="202"/>
                  <a:pt x="6282" y="231"/>
                </a:cubicBezTo>
                <a:lnTo>
                  <a:pt x="6444" y="231"/>
                </a:lnTo>
                <a:close/>
                <a:moveTo>
                  <a:pt x="6515" y="366"/>
                </a:moveTo>
                <a:cubicBezTo>
                  <a:pt x="6515" y="338"/>
                  <a:pt x="6515" y="338"/>
                  <a:pt x="6515" y="338"/>
                </a:cubicBezTo>
                <a:cubicBezTo>
                  <a:pt x="6523" y="346"/>
                  <a:pt x="6533" y="352"/>
                  <a:pt x="6546" y="356"/>
                </a:cubicBezTo>
                <a:cubicBezTo>
                  <a:pt x="6558" y="360"/>
                  <a:pt x="6568" y="362"/>
                  <a:pt x="6577" y="362"/>
                </a:cubicBezTo>
                <a:cubicBezTo>
                  <a:pt x="6617" y="362"/>
                  <a:pt x="6636" y="346"/>
                  <a:pt x="6636" y="314"/>
                </a:cubicBezTo>
                <a:cubicBezTo>
                  <a:pt x="6636" y="303"/>
                  <a:pt x="6632" y="293"/>
                  <a:pt x="6623" y="285"/>
                </a:cubicBezTo>
                <a:cubicBezTo>
                  <a:pt x="6615" y="277"/>
                  <a:pt x="6600" y="269"/>
                  <a:pt x="6581" y="261"/>
                </a:cubicBezTo>
                <a:cubicBezTo>
                  <a:pt x="6557" y="251"/>
                  <a:pt x="6540" y="240"/>
                  <a:pt x="6530" y="228"/>
                </a:cubicBezTo>
                <a:cubicBezTo>
                  <a:pt x="6521" y="217"/>
                  <a:pt x="6516" y="204"/>
                  <a:pt x="6516" y="188"/>
                </a:cubicBezTo>
                <a:cubicBezTo>
                  <a:pt x="6516" y="167"/>
                  <a:pt x="6523" y="151"/>
                  <a:pt x="6539" y="138"/>
                </a:cubicBezTo>
                <a:cubicBezTo>
                  <a:pt x="6555" y="125"/>
                  <a:pt x="6574" y="119"/>
                  <a:pt x="6597" y="119"/>
                </a:cubicBezTo>
                <a:cubicBezTo>
                  <a:pt x="6619" y="119"/>
                  <a:pt x="6637" y="123"/>
                  <a:pt x="6652" y="132"/>
                </a:cubicBezTo>
                <a:cubicBezTo>
                  <a:pt x="6652" y="158"/>
                  <a:pt x="6652" y="158"/>
                  <a:pt x="6652" y="158"/>
                </a:cubicBezTo>
                <a:cubicBezTo>
                  <a:pt x="6634" y="146"/>
                  <a:pt x="6614" y="140"/>
                  <a:pt x="6595" y="140"/>
                </a:cubicBezTo>
                <a:cubicBezTo>
                  <a:pt x="6578" y="140"/>
                  <a:pt x="6565" y="144"/>
                  <a:pt x="6554" y="153"/>
                </a:cubicBezTo>
                <a:cubicBezTo>
                  <a:pt x="6544" y="161"/>
                  <a:pt x="6539" y="172"/>
                  <a:pt x="6539" y="186"/>
                </a:cubicBezTo>
                <a:cubicBezTo>
                  <a:pt x="6539" y="198"/>
                  <a:pt x="6542" y="208"/>
                  <a:pt x="6549" y="215"/>
                </a:cubicBezTo>
                <a:cubicBezTo>
                  <a:pt x="6555" y="223"/>
                  <a:pt x="6569" y="231"/>
                  <a:pt x="6591" y="241"/>
                </a:cubicBezTo>
                <a:cubicBezTo>
                  <a:pt x="6617" y="253"/>
                  <a:pt x="6635" y="264"/>
                  <a:pt x="6645" y="274"/>
                </a:cubicBezTo>
                <a:cubicBezTo>
                  <a:pt x="6655" y="284"/>
                  <a:pt x="6660" y="297"/>
                  <a:pt x="6660" y="314"/>
                </a:cubicBezTo>
                <a:cubicBezTo>
                  <a:pt x="6660" y="334"/>
                  <a:pt x="6652" y="350"/>
                  <a:pt x="6637" y="363"/>
                </a:cubicBezTo>
                <a:cubicBezTo>
                  <a:pt x="6622" y="376"/>
                  <a:pt x="6602" y="383"/>
                  <a:pt x="6575" y="383"/>
                </a:cubicBezTo>
                <a:cubicBezTo>
                  <a:pt x="6551" y="383"/>
                  <a:pt x="6531" y="377"/>
                  <a:pt x="6515" y="366"/>
                </a:cubicBezTo>
                <a:close/>
                <a:moveTo>
                  <a:pt x="6708" y="366"/>
                </a:moveTo>
                <a:cubicBezTo>
                  <a:pt x="6708" y="338"/>
                  <a:pt x="6708" y="338"/>
                  <a:pt x="6708" y="338"/>
                </a:cubicBezTo>
                <a:cubicBezTo>
                  <a:pt x="6716" y="346"/>
                  <a:pt x="6727" y="352"/>
                  <a:pt x="6739" y="356"/>
                </a:cubicBezTo>
                <a:cubicBezTo>
                  <a:pt x="6751" y="360"/>
                  <a:pt x="6761" y="362"/>
                  <a:pt x="6770" y="362"/>
                </a:cubicBezTo>
                <a:cubicBezTo>
                  <a:pt x="6810" y="362"/>
                  <a:pt x="6830" y="346"/>
                  <a:pt x="6830" y="314"/>
                </a:cubicBezTo>
                <a:cubicBezTo>
                  <a:pt x="6830" y="303"/>
                  <a:pt x="6825" y="293"/>
                  <a:pt x="6817" y="285"/>
                </a:cubicBezTo>
                <a:cubicBezTo>
                  <a:pt x="6808" y="277"/>
                  <a:pt x="6794" y="269"/>
                  <a:pt x="6774" y="261"/>
                </a:cubicBezTo>
                <a:cubicBezTo>
                  <a:pt x="6750" y="251"/>
                  <a:pt x="6733" y="240"/>
                  <a:pt x="6724" y="228"/>
                </a:cubicBezTo>
                <a:cubicBezTo>
                  <a:pt x="6714" y="217"/>
                  <a:pt x="6709" y="204"/>
                  <a:pt x="6709" y="188"/>
                </a:cubicBezTo>
                <a:cubicBezTo>
                  <a:pt x="6709" y="167"/>
                  <a:pt x="6717" y="151"/>
                  <a:pt x="6732" y="138"/>
                </a:cubicBezTo>
                <a:cubicBezTo>
                  <a:pt x="6748" y="125"/>
                  <a:pt x="6767" y="119"/>
                  <a:pt x="6790" y="119"/>
                </a:cubicBezTo>
                <a:cubicBezTo>
                  <a:pt x="6812" y="119"/>
                  <a:pt x="6830" y="123"/>
                  <a:pt x="6846" y="132"/>
                </a:cubicBezTo>
                <a:cubicBezTo>
                  <a:pt x="6846" y="158"/>
                  <a:pt x="6846" y="158"/>
                  <a:pt x="6846" y="158"/>
                </a:cubicBezTo>
                <a:cubicBezTo>
                  <a:pt x="6827" y="146"/>
                  <a:pt x="6808" y="140"/>
                  <a:pt x="6788" y="140"/>
                </a:cubicBezTo>
                <a:cubicBezTo>
                  <a:pt x="6771" y="140"/>
                  <a:pt x="6758" y="144"/>
                  <a:pt x="6748" y="153"/>
                </a:cubicBezTo>
                <a:cubicBezTo>
                  <a:pt x="6738" y="161"/>
                  <a:pt x="6733" y="172"/>
                  <a:pt x="6733" y="186"/>
                </a:cubicBezTo>
                <a:cubicBezTo>
                  <a:pt x="6733" y="198"/>
                  <a:pt x="6736" y="208"/>
                  <a:pt x="6742" y="215"/>
                </a:cubicBezTo>
                <a:cubicBezTo>
                  <a:pt x="6748" y="223"/>
                  <a:pt x="6763" y="231"/>
                  <a:pt x="6784" y="241"/>
                </a:cubicBezTo>
                <a:cubicBezTo>
                  <a:pt x="6811" y="253"/>
                  <a:pt x="6829" y="264"/>
                  <a:pt x="6838" y="274"/>
                </a:cubicBezTo>
                <a:cubicBezTo>
                  <a:pt x="6848" y="284"/>
                  <a:pt x="6853" y="297"/>
                  <a:pt x="6853" y="314"/>
                </a:cubicBezTo>
                <a:cubicBezTo>
                  <a:pt x="6853" y="334"/>
                  <a:pt x="6846" y="350"/>
                  <a:pt x="6831" y="363"/>
                </a:cubicBezTo>
                <a:cubicBezTo>
                  <a:pt x="6816" y="376"/>
                  <a:pt x="6795" y="383"/>
                  <a:pt x="6769" y="383"/>
                </a:cubicBezTo>
                <a:cubicBezTo>
                  <a:pt x="6744" y="383"/>
                  <a:pt x="6724" y="377"/>
                  <a:pt x="6708" y="366"/>
                </a:cubicBezTo>
                <a:close/>
                <a:moveTo>
                  <a:pt x="3745" y="272"/>
                </a:moveTo>
                <a:cubicBezTo>
                  <a:pt x="3745" y="298"/>
                  <a:pt x="3737" y="319"/>
                  <a:pt x="3720" y="337"/>
                </a:cubicBezTo>
                <a:cubicBezTo>
                  <a:pt x="3704" y="354"/>
                  <a:pt x="3683" y="362"/>
                  <a:pt x="3657" y="362"/>
                </a:cubicBezTo>
                <a:cubicBezTo>
                  <a:pt x="3631" y="362"/>
                  <a:pt x="3611" y="352"/>
                  <a:pt x="3596" y="333"/>
                </a:cubicBezTo>
                <a:cubicBezTo>
                  <a:pt x="3581" y="313"/>
                  <a:pt x="3573" y="287"/>
                  <a:pt x="3573" y="253"/>
                </a:cubicBezTo>
                <a:cubicBezTo>
                  <a:pt x="3573" y="219"/>
                  <a:pt x="3582" y="192"/>
                  <a:pt x="3598" y="171"/>
                </a:cubicBezTo>
                <a:cubicBezTo>
                  <a:pt x="3615" y="150"/>
                  <a:pt x="3637" y="140"/>
                  <a:pt x="3665" y="140"/>
                </a:cubicBezTo>
                <a:cubicBezTo>
                  <a:pt x="3688" y="140"/>
                  <a:pt x="3707" y="148"/>
                  <a:pt x="3722" y="163"/>
                </a:cubicBezTo>
                <a:cubicBezTo>
                  <a:pt x="3737" y="179"/>
                  <a:pt x="3745" y="199"/>
                  <a:pt x="3745" y="222"/>
                </a:cubicBezTo>
                <a:cubicBezTo>
                  <a:pt x="3745" y="272"/>
                  <a:pt x="3745" y="272"/>
                  <a:pt x="3745" y="272"/>
                </a:cubicBezTo>
                <a:cubicBezTo>
                  <a:pt x="3745" y="272"/>
                  <a:pt x="3745" y="272"/>
                  <a:pt x="3745" y="272"/>
                </a:cubicBezTo>
                <a:close/>
                <a:moveTo>
                  <a:pt x="3767" y="125"/>
                </a:moveTo>
                <a:cubicBezTo>
                  <a:pt x="3745" y="125"/>
                  <a:pt x="3745" y="125"/>
                  <a:pt x="3745" y="125"/>
                </a:cubicBezTo>
                <a:cubicBezTo>
                  <a:pt x="3745" y="165"/>
                  <a:pt x="3745" y="165"/>
                  <a:pt x="3745" y="165"/>
                </a:cubicBezTo>
                <a:cubicBezTo>
                  <a:pt x="3744" y="165"/>
                  <a:pt x="3744" y="165"/>
                  <a:pt x="3744" y="165"/>
                </a:cubicBezTo>
                <a:cubicBezTo>
                  <a:pt x="3728" y="134"/>
                  <a:pt x="3701" y="119"/>
                  <a:pt x="3664" y="119"/>
                </a:cubicBezTo>
                <a:cubicBezTo>
                  <a:pt x="3642" y="119"/>
                  <a:pt x="3622" y="125"/>
                  <a:pt x="3605" y="136"/>
                </a:cubicBezTo>
                <a:cubicBezTo>
                  <a:pt x="3587" y="148"/>
                  <a:pt x="3574" y="164"/>
                  <a:pt x="3564" y="185"/>
                </a:cubicBezTo>
                <a:cubicBezTo>
                  <a:pt x="3555" y="206"/>
                  <a:pt x="3550" y="229"/>
                  <a:pt x="3550" y="255"/>
                </a:cubicBezTo>
                <a:cubicBezTo>
                  <a:pt x="3550" y="294"/>
                  <a:pt x="3560" y="325"/>
                  <a:pt x="3578" y="348"/>
                </a:cubicBezTo>
                <a:cubicBezTo>
                  <a:pt x="3597" y="371"/>
                  <a:pt x="3623" y="383"/>
                  <a:pt x="3654" y="383"/>
                </a:cubicBezTo>
                <a:cubicBezTo>
                  <a:pt x="3694" y="383"/>
                  <a:pt x="3724" y="366"/>
                  <a:pt x="3744" y="331"/>
                </a:cubicBezTo>
                <a:cubicBezTo>
                  <a:pt x="3745" y="331"/>
                  <a:pt x="3745" y="331"/>
                  <a:pt x="3745" y="331"/>
                </a:cubicBezTo>
                <a:cubicBezTo>
                  <a:pt x="3745" y="364"/>
                  <a:pt x="3745" y="364"/>
                  <a:pt x="3745" y="364"/>
                </a:cubicBezTo>
                <a:cubicBezTo>
                  <a:pt x="3745" y="438"/>
                  <a:pt x="3711" y="474"/>
                  <a:pt x="3642" y="474"/>
                </a:cubicBezTo>
                <a:cubicBezTo>
                  <a:pt x="3618" y="474"/>
                  <a:pt x="3593" y="467"/>
                  <a:pt x="3567" y="452"/>
                </a:cubicBezTo>
                <a:cubicBezTo>
                  <a:pt x="3567" y="476"/>
                  <a:pt x="3567" y="476"/>
                  <a:pt x="3567" y="476"/>
                </a:cubicBezTo>
                <a:cubicBezTo>
                  <a:pt x="3593" y="488"/>
                  <a:pt x="3617" y="495"/>
                  <a:pt x="3641" y="495"/>
                </a:cubicBezTo>
                <a:cubicBezTo>
                  <a:pt x="3685" y="495"/>
                  <a:pt x="3717" y="484"/>
                  <a:pt x="3737" y="462"/>
                </a:cubicBezTo>
                <a:cubicBezTo>
                  <a:pt x="3757" y="440"/>
                  <a:pt x="3767" y="405"/>
                  <a:pt x="3767" y="358"/>
                </a:cubicBezTo>
                <a:cubicBezTo>
                  <a:pt x="3767" y="125"/>
                  <a:pt x="3767" y="125"/>
                  <a:pt x="3767" y="125"/>
                </a:cubicBezTo>
                <a:cubicBezTo>
                  <a:pt x="3767" y="125"/>
                  <a:pt x="3767" y="125"/>
                  <a:pt x="3767" y="125"/>
                </a:cubicBezTo>
                <a:close/>
                <a:moveTo>
                  <a:pt x="3493" y="377"/>
                </a:moveTo>
                <a:cubicBezTo>
                  <a:pt x="3493" y="224"/>
                  <a:pt x="3493" y="224"/>
                  <a:pt x="3493" y="224"/>
                </a:cubicBezTo>
                <a:cubicBezTo>
                  <a:pt x="3493" y="190"/>
                  <a:pt x="3486" y="164"/>
                  <a:pt x="3472" y="146"/>
                </a:cubicBezTo>
                <a:cubicBezTo>
                  <a:pt x="3458" y="128"/>
                  <a:pt x="3437" y="119"/>
                  <a:pt x="3410" y="119"/>
                </a:cubicBezTo>
                <a:cubicBezTo>
                  <a:pt x="3371" y="119"/>
                  <a:pt x="3343" y="136"/>
                  <a:pt x="3325" y="171"/>
                </a:cubicBezTo>
                <a:cubicBezTo>
                  <a:pt x="3324" y="171"/>
                  <a:pt x="3324" y="171"/>
                  <a:pt x="3324" y="171"/>
                </a:cubicBezTo>
                <a:cubicBezTo>
                  <a:pt x="3324" y="125"/>
                  <a:pt x="3324" y="125"/>
                  <a:pt x="3324" y="125"/>
                </a:cubicBezTo>
                <a:cubicBezTo>
                  <a:pt x="3301" y="125"/>
                  <a:pt x="3301" y="125"/>
                  <a:pt x="3301" y="125"/>
                </a:cubicBezTo>
                <a:cubicBezTo>
                  <a:pt x="3301" y="377"/>
                  <a:pt x="3301" y="377"/>
                  <a:pt x="3301" y="377"/>
                </a:cubicBezTo>
                <a:cubicBezTo>
                  <a:pt x="3324" y="377"/>
                  <a:pt x="3324" y="377"/>
                  <a:pt x="3324" y="377"/>
                </a:cubicBezTo>
                <a:cubicBezTo>
                  <a:pt x="3324" y="232"/>
                  <a:pt x="3324" y="232"/>
                  <a:pt x="3324" y="232"/>
                </a:cubicBezTo>
                <a:cubicBezTo>
                  <a:pt x="3324" y="206"/>
                  <a:pt x="3331" y="184"/>
                  <a:pt x="3347" y="166"/>
                </a:cubicBezTo>
                <a:cubicBezTo>
                  <a:pt x="3363" y="149"/>
                  <a:pt x="3382" y="140"/>
                  <a:pt x="3406" y="140"/>
                </a:cubicBezTo>
                <a:cubicBezTo>
                  <a:pt x="3449" y="140"/>
                  <a:pt x="3471" y="170"/>
                  <a:pt x="3471" y="230"/>
                </a:cubicBezTo>
                <a:cubicBezTo>
                  <a:pt x="3471" y="377"/>
                  <a:pt x="3471" y="377"/>
                  <a:pt x="3471" y="377"/>
                </a:cubicBezTo>
                <a:cubicBezTo>
                  <a:pt x="3493" y="377"/>
                  <a:pt x="3493" y="377"/>
                  <a:pt x="3493" y="377"/>
                </a:cubicBezTo>
                <a:cubicBezTo>
                  <a:pt x="3493" y="377"/>
                  <a:pt x="3493" y="377"/>
                  <a:pt x="3493" y="377"/>
                </a:cubicBezTo>
                <a:close/>
                <a:moveTo>
                  <a:pt x="3221" y="125"/>
                </a:moveTo>
                <a:cubicBezTo>
                  <a:pt x="3199" y="125"/>
                  <a:pt x="3199" y="125"/>
                  <a:pt x="3199" y="125"/>
                </a:cubicBezTo>
                <a:cubicBezTo>
                  <a:pt x="3199" y="377"/>
                  <a:pt x="3199" y="377"/>
                  <a:pt x="3199" y="377"/>
                </a:cubicBezTo>
                <a:cubicBezTo>
                  <a:pt x="3221" y="377"/>
                  <a:pt x="3221" y="377"/>
                  <a:pt x="3221" y="377"/>
                </a:cubicBezTo>
                <a:cubicBezTo>
                  <a:pt x="3221" y="125"/>
                  <a:pt x="3221" y="125"/>
                  <a:pt x="3221" y="125"/>
                </a:cubicBezTo>
                <a:cubicBezTo>
                  <a:pt x="3221" y="125"/>
                  <a:pt x="3221" y="125"/>
                  <a:pt x="3221" y="125"/>
                </a:cubicBezTo>
                <a:close/>
                <a:moveTo>
                  <a:pt x="3223" y="56"/>
                </a:moveTo>
                <a:cubicBezTo>
                  <a:pt x="3227" y="52"/>
                  <a:pt x="3229" y="48"/>
                  <a:pt x="3229" y="43"/>
                </a:cubicBezTo>
                <a:cubicBezTo>
                  <a:pt x="3229" y="37"/>
                  <a:pt x="3227" y="33"/>
                  <a:pt x="3223" y="29"/>
                </a:cubicBezTo>
                <a:cubicBezTo>
                  <a:pt x="3219" y="26"/>
                  <a:pt x="3215" y="24"/>
                  <a:pt x="3210" y="24"/>
                </a:cubicBezTo>
                <a:cubicBezTo>
                  <a:pt x="3205" y="24"/>
                  <a:pt x="3201" y="26"/>
                  <a:pt x="3197" y="29"/>
                </a:cubicBezTo>
                <a:cubicBezTo>
                  <a:pt x="3193" y="33"/>
                  <a:pt x="3191" y="37"/>
                  <a:pt x="3191" y="43"/>
                </a:cubicBezTo>
                <a:cubicBezTo>
                  <a:pt x="3191" y="48"/>
                  <a:pt x="3193" y="53"/>
                  <a:pt x="3197" y="56"/>
                </a:cubicBezTo>
                <a:cubicBezTo>
                  <a:pt x="3201" y="60"/>
                  <a:pt x="3205" y="62"/>
                  <a:pt x="3210" y="62"/>
                </a:cubicBezTo>
                <a:cubicBezTo>
                  <a:pt x="3215" y="62"/>
                  <a:pt x="3220" y="60"/>
                  <a:pt x="3223" y="56"/>
                </a:cubicBezTo>
                <a:moveTo>
                  <a:pt x="3124" y="377"/>
                </a:moveTo>
                <a:cubicBezTo>
                  <a:pt x="3124" y="224"/>
                  <a:pt x="3124" y="224"/>
                  <a:pt x="3124" y="224"/>
                </a:cubicBezTo>
                <a:cubicBezTo>
                  <a:pt x="3124" y="190"/>
                  <a:pt x="3117" y="164"/>
                  <a:pt x="3103" y="146"/>
                </a:cubicBezTo>
                <a:cubicBezTo>
                  <a:pt x="3089" y="128"/>
                  <a:pt x="3068" y="119"/>
                  <a:pt x="3041" y="119"/>
                </a:cubicBezTo>
                <a:cubicBezTo>
                  <a:pt x="3002" y="119"/>
                  <a:pt x="2974" y="136"/>
                  <a:pt x="2956" y="171"/>
                </a:cubicBezTo>
                <a:cubicBezTo>
                  <a:pt x="2955" y="171"/>
                  <a:pt x="2955" y="171"/>
                  <a:pt x="2955" y="171"/>
                </a:cubicBezTo>
                <a:cubicBezTo>
                  <a:pt x="2955" y="125"/>
                  <a:pt x="2955" y="125"/>
                  <a:pt x="2955" y="125"/>
                </a:cubicBezTo>
                <a:cubicBezTo>
                  <a:pt x="2932" y="125"/>
                  <a:pt x="2932" y="125"/>
                  <a:pt x="2932" y="125"/>
                </a:cubicBezTo>
                <a:cubicBezTo>
                  <a:pt x="2932" y="377"/>
                  <a:pt x="2932" y="377"/>
                  <a:pt x="2932" y="377"/>
                </a:cubicBezTo>
                <a:cubicBezTo>
                  <a:pt x="2955" y="377"/>
                  <a:pt x="2955" y="377"/>
                  <a:pt x="2955" y="377"/>
                </a:cubicBezTo>
                <a:cubicBezTo>
                  <a:pt x="2955" y="232"/>
                  <a:pt x="2955" y="232"/>
                  <a:pt x="2955" y="232"/>
                </a:cubicBezTo>
                <a:cubicBezTo>
                  <a:pt x="2955" y="206"/>
                  <a:pt x="2962" y="184"/>
                  <a:pt x="2978" y="166"/>
                </a:cubicBezTo>
                <a:cubicBezTo>
                  <a:pt x="2994" y="149"/>
                  <a:pt x="3013" y="140"/>
                  <a:pt x="3037" y="140"/>
                </a:cubicBezTo>
                <a:cubicBezTo>
                  <a:pt x="3080" y="140"/>
                  <a:pt x="3102" y="170"/>
                  <a:pt x="3102" y="230"/>
                </a:cubicBezTo>
                <a:cubicBezTo>
                  <a:pt x="3102" y="377"/>
                  <a:pt x="3102" y="377"/>
                  <a:pt x="3102" y="377"/>
                </a:cubicBezTo>
                <a:cubicBezTo>
                  <a:pt x="3124" y="377"/>
                  <a:pt x="3124" y="377"/>
                  <a:pt x="3124" y="377"/>
                </a:cubicBezTo>
                <a:cubicBezTo>
                  <a:pt x="3124" y="377"/>
                  <a:pt x="3124" y="377"/>
                  <a:pt x="3124" y="377"/>
                </a:cubicBezTo>
                <a:close/>
                <a:moveTo>
                  <a:pt x="2887" y="125"/>
                </a:moveTo>
                <a:cubicBezTo>
                  <a:pt x="2879" y="122"/>
                  <a:pt x="2871" y="120"/>
                  <a:pt x="2862" y="120"/>
                </a:cubicBezTo>
                <a:cubicBezTo>
                  <a:pt x="2846" y="120"/>
                  <a:pt x="2831" y="126"/>
                  <a:pt x="2819" y="136"/>
                </a:cubicBezTo>
                <a:cubicBezTo>
                  <a:pt x="2807" y="147"/>
                  <a:pt x="2798" y="162"/>
                  <a:pt x="2792" y="181"/>
                </a:cubicBezTo>
                <a:cubicBezTo>
                  <a:pt x="2791" y="181"/>
                  <a:pt x="2791" y="181"/>
                  <a:pt x="2791" y="181"/>
                </a:cubicBezTo>
                <a:cubicBezTo>
                  <a:pt x="2791" y="125"/>
                  <a:pt x="2791" y="125"/>
                  <a:pt x="2791" y="125"/>
                </a:cubicBezTo>
                <a:cubicBezTo>
                  <a:pt x="2769" y="125"/>
                  <a:pt x="2769" y="125"/>
                  <a:pt x="2769" y="125"/>
                </a:cubicBezTo>
                <a:cubicBezTo>
                  <a:pt x="2769" y="377"/>
                  <a:pt x="2769" y="377"/>
                  <a:pt x="2769" y="377"/>
                </a:cubicBezTo>
                <a:cubicBezTo>
                  <a:pt x="2791" y="377"/>
                  <a:pt x="2791" y="377"/>
                  <a:pt x="2791" y="377"/>
                </a:cubicBezTo>
                <a:cubicBezTo>
                  <a:pt x="2791" y="259"/>
                  <a:pt x="2791" y="259"/>
                  <a:pt x="2791" y="259"/>
                </a:cubicBezTo>
                <a:cubicBezTo>
                  <a:pt x="2791" y="235"/>
                  <a:pt x="2794" y="214"/>
                  <a:pt x="2800" y="196"/>
                </a:cubicBezTo>
                <a:cubicBezTo>
                  <a:pt x="2806" y="178"/>
                  <a:pt x="2814" y="164"/>
                  <a:pt x="2825" y="155"/>
                </a:cubicBezTo>
                <a:cubicBezTo>
                  <a:pt x="2835" y="145"/>
                  <a:pt x="2847" y="141"/>
                  <a:pt x="2860" y="141"/>
                </a:cubicBezTo>
                <a:cubicBezTo>
                  <a:pt x="2870" y="141"/>
                  <a:pt x="2879" y="143"/>
                  <a:pt x="2887" y="149"/>
                </a:cubicBezTo>
                <a:cubicBezTo>
                  <a:pt x="2887" y="125"/>
                  <a:pt x="2887" y="125"/>
                  <a:pt x="2887" y="125"/>
                </a:cubicBezTo>
                <a:cubicBezTo>
                  <a:pt x="2887" y="125"/>
                  <a:pt x="2887" y="125"/>
                  <a:pt x="2887" y="125"/>
                </a:cubicBezTo>
                <a:close/>
                <a:moveTo>
                  <a:pt x="2547" y="271"/>
                </a:moveTo>
                <a:cubicBezTo>
                  <a:pt x="2557" y="262"/>
                  <a:pt x="2575" y="256"/>
                  <a:pt x="2603" y="251"/>
                </a:cubicBezTo>
                <a:cubicBezTo>
                  <a:pt x="2672" y="241"/>
                  <a:pt x="2672" y="241"/>
                  <a:pt x="2672" y="241"/>
                </a:cubicBezTo>
                <a:cubicBezTo>
                  <a:pt x="2672" y="266"/>
                  <a:pt x="2672" y="266"/>
                  <a:pt x="2672" y="266"/>
                </a:cubicBezTo>
                <a:cubicBezTo>
                  <a:pt x="2672" y="294"/>
                  <a:pt x="2664" y="317"/>
                  <a:pt x="2648" y="335"/>
                </a:cubicBezTo>
                <a:cubicBezTo>
                  <a:pt x="2632" y="353"/>
                  <a:pt x="2612" y="362"/>
                  <a:pt x="2588" y="362"/>
                </a:cubicBezTo>
                <a:cubicBezTo>
                  <a:pt x="2571" y="362"/>
                  <a:pt x="2557" y="357"/>
                  <a:pt x="2547" y="348"/>
                </a:cubicBezTo>
                <a:cubicBezTo>
                  <a:pt x="2537" y="339"/>
                  <a:pt x="2532" y="327"/>
                  <a:pt x="2532" y="311"/>
                </a:cubicBezTo>
                <a:cubicBezTo>
                  <a:pt x="2532" y="293"/>
                  <a:pt x="2537" y="279"/>
                  <a:pt x="2547" y="271"/>
                </a:cubicBezTo>
                <a:moveTo>
                  <a:pt x="2694" y="377"/>
                </a:moveTo>
                <a:cubicBezTo>
                  <a:pt x="2694" y="213"/>
                  <a:pt x="2694" y="213"/>
                  <a:pt x="2694" y="213"/>
                </a:cubicBezTo>
                <a:cubicBezTo>
                  <a:pt x="2694" y="182"/>
                  <a:pt x="2687" y="159"/>
                  <a:pt x="2673" y="143"/>
                </a:cubicBezTo>
                <a:cubicBezTo>
                  <a:pt x="2659" y="127"/>
                  <a:pt x="2639" y="119"/>
                  <a:pt x="2613" y="119"/>
                </a:cubicBezTo>
                <a:cubicBezTo>
                  <a:pt x="2600" y="119"/>
                  <a:pt x="2586" y="122"/>
                  <a:pt x="2569" y="127"/>
                </a:cubicBezTo>
                <a:cubicBezTo>
                  <a:pt x="2553" y="132"/>
                  <a:pt x="2540" y="139"/>
                  <a:pt x="2531" y="146"/>
                </a:cubicBezTo>
                <a:cubicBezTo>
                  <a:pt x="2531" y="173"/>
                  <a:pt x="2531" y="173"/>
                  <a:pt x="2531" y="173"/>
                </a:cubicBezTo>
                <a:cubicBezTo>
                  <a:pt x="2557" y="151"/>
                  <a:pt x="2584" y="140"/>
                  <a:pt x="2611" y="140"/>
                </a:cubicBezTo>
                <a:cubicBezTo>
                  <a:pt x="2652" y="140"/>
                  <a:pt x="2672" y="167"/>
                  <a:pt x="2672" y="221"/>
                </a:cubicBezTo>
                <a:cubicBezTo>
                  <a:pt x="2595" y="232"/>
                  <a:pt x="2595" y="232"/>
                  <a:pt x="2595" y="232"/>
                </a:cubicBezTo>
                <a:cubicBezTo>
                  <a:pt x="2537" y="241"/>
                  <a:pt x="2509" y="268"/>
                  <a:pt x="2509" y="312"/>
                </a:cubicBezTo>
                <a:cubicBezTo>
                  <a:pt x="2509" y="333"/>
                  <a:pt x="2516" y="350"/>
                  <a:pt x="2530" y="363"/>
                </a:cubicBezTo>
                <a:cubicBezTo>
                  <a:pt x="2544" y="376"/>
                  <a:pt x="2563" y="383"/>
                  <a:pt x="2585" y="383"/>
                </a:cubicBezTo>
                <a:cubicBezTo>
                  <a:pt x="2604" y="383"/>
                  <a:pt x="2620" y="378"/>
                  <a:pt x="2636" y="367"/>
                </a:cubicBezTo>
                <a:cubicBezTo>
                  <a:pt x="2651" y="357"/>
                  <a:pt x="2663" y="343"/>
                  <a:pt x="2671" y="326"/>
                </a:cubicBezTo>
                <a:cubicBezTo>
                  <a:pt x="2672" y="326"/>
                  <a:pt x="2672" y="326"/>
                  <a:pt x="2672" y="326"/>
                </a:cubicBezTo>
                <a:cubicBezTo>
                  <a:pt x="2672" y="377"/>
                  <a:pt x="2672" y="377"/>
                  <a:pt x="2672" y="377"/>
                </a:cubicBezTo>
                <a:cubicBezTo>
                  <a:pt x="2694" y="377"/>
                  <a:pt x="2694" y="377"/>
                  <a:pt x="2694" y="377"/>
                </a:cubicBezTo>
                <a:cubicBezTo>
                  <a:pt x="2694" y="377"/>
                  <a:pt x="2694" y="377"/>
                  <a:pt x="2694" y="377"/>
                </a:cubicBezTo>
                <a:close/>
                <a:moveTo>
                  <a:pt x="2277" y="231"/>
                </a:moveTo>
                <a:cubicBezTo>
                  <a:pt x="2281" y="202"/>
                  <a:pt x="2290" y="179"/>
                  <a:pt x="2306" y="163"/>
                </a:cubicBezTo>
                <a:cubicBezTo>
                  <a:pt x="2321" y="148"/>
                  <a:pt x="2340" y="140"/>
                  <a:pt x="2364" y="140"/>
                </a:cubicBezTo>
                <a:cubicBezTo>
                  <a:pt x="2386" y="140"/>
                  <a:pt x="2404" y="148"/>
                  <a:pt x="2417" y="163"/>
                </a:cubicBezTo>
                <a:cubicBezTo>
                  <a:pt x="2430" y="180"/>
                  <a:pt x="2437" y="202"/>
                  <a:pt x="2438" y="231"/>
                </a:cubicBezTo>
                <a:cubicBezTo>
                  <a:pt x="2277" y="231"/>
                  <a:pt x="2277" y="231"/>
                  <a:pt x="2277" y="231"/>
                </a:cubicBezTo>
                <a:cubicBezTo>
                  <a:pt x="2277" y="231"/>
                  <a:pt x="2277" y="231"/>
                  <a:pt x="2277" y="231"/>
                </a:cubicBezTo>
                <a:close/>
                <a:moveTo>
                  <a:pt x="2461" y="252"/>
                </a:moveTo>
                <a:cubicBezTo>
                  <a:pt x="2461" y="242"/>
                  <a:pt x="2461" y="242"/>
                  <a:pt x="2461" y="242"/>
                </a:cubicBezTo>
                <a:cubicBezTo>
                  <a:pt x="2461" y="203"/>
                  <a:pt x="2452" y="173"/>
                  <a:pt x="2436" y="151"/>
                </a:cubicBezTo>
                <a:cubicBezTo>
                  <a:pt x="2419" y="130"/>
                  <a:pt x="2395" y="119"/>
                  <a:pt x="2365" y="119"/>
                </a:cubicBezTo>
                <a:cubicBezTo>
                  <a:pt x="2344" y="119"/>
                  <a:pt x="2325" y="125"/>
                  <a:pt x="2308" y="136"/>
                </a:cubicBezTo>
                <a:cubicBezTo>
                  <a:pt x="2291" y="147"/>
                  <a:pt x="2277" y="163"/>
                  <a:pt x="2267" y="183"/>
                </a:cubicBezTo>
                <a:cubicBezTo>
                  <a:pt x="2258" y="203"/>
                  <a:pt x="2253" y="225"/>
                  <a:pt x="2253" y="249"/>
                </a:cubicBezTo>
                <a:cubicBezTo>
                  <a:pt x="2253" y="291"/>
                  <a:pt x="2263" y="323"/>
                  <a:pt x="2282" y="347"/>
                </a:cubicBezTo>
                <a:cubicBezTo>
                  <a:pt x="2302" y="371"/>
                  <a:pt x="2328" y="383"/>
                  <a:pt x="2361" y="383"/>
                </a:cubicBezTo>
                <a:cubicBezTo>
                  <a:pt x="2392" y="383"/>
                  <a:pt x="2421" y="374"/>
                  <a:pt x="2447" y="355"/>
                </a:cubicBezTo>
                <a:cubicBezTo>
                  <a:pt x="2447" y="331"/>
                  <a:pt x="2447" y="331"/>
                  <a:pt x="2447" y="331"/>
                </a:cubicBezTo>
                <a:cubicBezTo>
                  <a:pt x="2420" y="352"/>
                  <a:pt x="2393" y="362"/>
                  <a:pt x="2365" y="362"/>
                </a:cubicBezTo>
                <a:cubicBezTo>
                  <a:pt x="2338" y="362"/>
                  <a:pt x="2316" y="352"/>
                  <a:pt x="2300" y="333"/>
                </a:cubicBezTo>
                <a:cubicBezTo>
                  <a:pt x="2284" y="314"/>
                  <a:pt x="2276" y="287"/>
                  <a:pt x="2276" y="252"/>
                </a:cubicBezTo>
                <a:cubicBezTo>
                  <a:pt x="2461" y="252"/>
                  <a:pt x="2461" y="252"/>
                  <a:pt x="2461" y="252"/>
                </a:cubicBezTo>
                <a:cubicBezTo>
                  <a:pt x="2461" y="252"/>
                  <a:pt x="2461" y="252"/>
                  <a:pt x="2461" y="252"/>
                </a:cubicBezTo>
                <a:close/>
                <a:moveTo>
                  <a:pt x="2212" y="377"/>
                </a:moveTo>
                <a:cubicBezTo>
                  <a:pt x="2212" y="355"/>
                  <a:pt x="2212" y="355"/>
                  <a:pt x="2212" y="355"/>
                </a:cubicBezTo>
                <a:cubicBezTo>
                  <a:pt x="2072" y="355"/>
                  <a:pt x="2072" y="355"/>
                  <a:pt x="2072" y="355"/>
                </a:cubicBezTo>
                <a:cubicBezTo>
                  <a:pt x="2072" y="24"/>
                  <a:pt x="2072" y="24"/>
                  <a:pt x="2072" y="24"/>
                </a:cubicBezTo>
                <a:cubicBezTo>
                  <a:pt x="2047" y="24"/>
                  <a:pt x="2047" y="24"/>
                  <a:pt x="2047" y="24"/>
                </a:cubicBezTo>
                <a:cubicBezTo>
                  <a:pt x="2047" y="377"/>
                  <a:pt x="2047" y="377"/>
                  <a:pt x="2047" y="377"/>
                </a:cubicBezTo>
                <a:cubicBezTo>
                  <a:pt x="2212" y="377"/>
                  <a:pt x="2212" y="377"/>
                  <a:pt x="2212" y="377"/>
                </a:cubicBezTo>
                <a:cubicBezTo>
                  <a:pt x="2212" y="377"/>
                  <a:pt x="2212" y="377"/>
                  <a:pt x="2212" y="377"/>
                </a:cubicBezTo>
                <a:close/>
                <a:moveTo>
                  <a:pt x="1877" y="352"/>
                </a:moveTo>
                <a:cubicBezTo>
                  <a:pt x="1867" y="358"/>
                  <a:pt x="1857" y="361"/>
                  <a:pt x="1847" y="361"/>
                </a:cubicBezTo>
                <a:cubicBezTo>
                  <a:pt x="1834" y="361"/>
                  <a:pt x="1825" y="357"/>
                  <a:pt x="1820" y="350"/>
                </a:cubicBezTo>
                <a:cubicBezTo>
                  <a:pt x="1814" y="342"/>
                  <a:pt x="1811" y="329"/>
                  <a:pt x="1811" y="312"/>
                </a:cubicBezTo>
                <a:cubicBezTo>
                  <a:pt x="1811" y="146"/>
                  <a:pt x="1811" y="146"/>
                  <a:pt x="1811" y="146"/>
                </a:cubicBezTo>
                <a:cubicBezTo>
                  <a:pt x="1877" y="146"/>
                  <a:pt x="1877" y="146"/>
                  <a:pt x="1877" y="146"/>
                </a:cubicBezTo>
                <a:cubicBezTo>
                  <a:pt x="1877" y="125"/>
                  <a:pt x="1877" y="125"/>
                  <a:pt x="1877" y="125"/>
                </a:cubicBezTo>
                <a:cubicBezTo>
                  <a:pt x="1811" y="125"/>
                  <a:pt x="1811" y="125"/>
                  <a:pt x="1811" y="125"/>
                </a:cubicBezTo>
                <a:cubicBezTo>
                  <a:pt x="1811" y="52"/>
                  <a:pt x="1811" y="52"/>
                  <a:pt x="1811" y="52"/>
                </a:cubicBezTo>
                <a:cubicBezTo>
                  <a:pt x="1789" y="60"/>
                  <a:pt x="1789" y="60"/>
                  <a:pt x="1789" y="60"/>
                </a:cubicBezTo>
                <a:cubicBezTo>
                  <a:pt x="1789" y="125"/>
                  <a:pt x="1789" y="125"/>
                  <a:pt x="1789" y="125"/>
                </a:cubicBezTo>
                <a:cubicBezTo>
                  <a:pt x="1744" y="125"/>
                  <a:pt x="1744" y="125"/>
                  <a:pt x="1744" y="125"/>
                </a:cubicBezTo>
                <a:cubicBezTo>
                  <a:pt x="1744" y="146"/>
                  <a:pt x="1744" y="146"/>
                  <a:pt x="1744" y="146"/>
                </a:cubicBezTo>
                <a:cubicBezTo>
                  <a:pt x="1789" y="146"/>
                  <a:pt x="1789" y="146"/>
                  <a:pt x="1789" y="146"/>
                </a:cubicBezTo>
                <a:cubicBezTo>
                  <a:pt x="1789" y="315"/>
                  <a:pt x="1789" y="315"/>
                  <a:pt x="1789" y="315"/>
                </a:cubicBezTo>
                <a:cubicBezTo>
                  <a:pt x="1789" y="359"/>
                  <a:pt x="1807" y="382"/>
                  <a:pt x="1844" y="382"/>
                </a:cubicBezTo>
                <a:cubicBezTo>
                  <a:pt x="1855" y="382"/>
                  <a:pt x="1866" y="379"/>
                  <a:pt x="1877" y="373"/>
                </a:cubicBezTo>
                <a:cubicBezTo>
                  <a:pt x="1877" y="352"/>
                  <a:pt x="1877" y="352"/>
                  <a:pt x="1877" y="352"/>
                </a:cubicBezTo>
                <a:cubicBezTo>
                  <a:pt x="1877" y="352"/>
                  <a:pt x="1877" y="352"/>
                  <a:pt x="1877" y="352"/>
                </a:cubicBezTo>
                <a:close/>
                <a:moveTo>
                  <a:pt x="1737" y="5"/>
                </a:moveTo>
                <a:cubicBezTo>
                  <a:pt x="1730" y="2"/>
                  <a:pt x="1721" y="0"/>
                  <a:pt x="1710" y="0"/>
                </a:cubicBezTo>
                <a:cubicBezTo>
                  <a:pt x="1690" y="0"/>
                  <a:pt x="1673" y="7"/>
                  <a:pt x="1660" y="22"/>
                </a:cubicBezTo>
                <a:cubicBezTo>
                  <a:pt x="1647" y="36"/>
                  <a:pt x="1641" y="56"/>
                  <a:pt x="1641" y="81"/>
                </a:cubicBezTo>
                <a:cubicBezTo>
                  <a:pt x="1641" y="125"/>
                  <a:pt x="1641" y="125"/>
                  <a:pt x="1641" y="125"/>
                </a:cubicBezTo>
                <a:cubicBezTo>
                  <a:pt x="1596" y="125"/>
                  <a:pt x="1596" y="125"/>
                  <a:pt x="1596" y="125"/>
                </a:cubicBezTo>
                <a:cubicBezTo>
                  <a:pt x="1596" y="146"/>
                  <a:pt x="1596" y="146"/>
                  <a:pt x="1596" y="146"/>
                </a:cubicBezTo>
                <a:cubicBezTo>
                  <a:pt x="1641" y="146"/>
                  <a:pt x="1641" y="146"/>
                  <a:pt x="1641" y="146"/>
                </a:cubicBezTo>
                <a:cubicBezTo>
                  <a:pt x="1641" y="377"/>
                  <a:pt x="1641" y="377"/>
                  <a:pt x="1641" y="377"/>
                </a:cubicBezTo>
                <a:cubicBezTo>
                  <a:pt x="1663" y="377"/>
                  <a:pt x="1663" y="377"/>
                  <a:pt x="1663" y="377"/>
                </a:cubicBezTo>
                <a:cubicBezTo>
                  <a:pt x="1663" y="146"/>
                  <a:pt x="1663" y="146"/>
                  <a:pt x="1663" y="146"/>
                </a:cubicBezTo>
                <a:cubicBezTo>
                  <a:pt x="1729" y="146"/>
                  <a:pt x="1729" y="146"/>
                  <a:pt x="1729" y="146"/>
                </a:cubicBezTo>
                <a:cubicBezTo>
                  <a:pt x="1729" y="125"/>
                  <a:pt x="1729" y="125"/>
                  <a:pt x="1729" y="125"/>
                </a:cubicBezTo>
                <a:cubicBezTo>
                  <a:pt x="1663" y="125"/>
                  <a:pt x="1663" y="125"/>
                  <a:pt x="1663" y="125"/>
                </a:cubicBezTo>
                <a:cubicBezTo>
                  <a:pt x="1663" y="83"/>
                  <a:pt x="1663" y="83"/>
                  <a:pt x="1663" y="83"/>
                </a:cubicBezTo>
                <a:cubicBezTo>
                  <a:pt x="1663" y="42"/>
                  <a:pt x="1679" y="21"/>
                  <a:pt x="1709" y="21"/>
                </a:cubicBezTo>
                <a:cubicBezTo>
                  <a:pt x="1721" y="21"/>
                  <a:pt x="1730" y="23"/>
                  <a:pt x="1737" y="28"/>
                </a:cubicBezTo>
                <a:cubicBezTo>
                  <a:pt x="1737" y="5"/>
                  <a:pt x="1737" y="5"/>
                  <a:pt x="1737" y="5"/>
                </a:cubicBezTo>
                <a:cubicBezTo>
                  <a:pt x="1737" y="5"/>
                  <a:pt x="1737" y="5"/>
                  <a:pt x="1737" y="5"/>
                </a:cubicBezTo>
                <a:close/>
                <a:moveTo>
                  <a:pt x="1532" y="168"/>
                </a:moveTo>
                <a:cubicBezTo>
                  <a:pt x="1548" y="187"/>
                  <a:pt x="1556" y="215"/>
                  <a:pt x="1556" y="251"/>
                </a:cubicBezTo>
                <a:cubicBezTo>
                  <a:pt x="1556" y="286"/>
                  <a:pt x="1548" y="313"/>
                  <a:pt x="1531" y="333"/>
                </a:cubicBezTo>
                <a:cubicBezTo>
                  <a:pt x="1515" y="352"/>
                  <a:pt x="1492" y="362"/>
                  <a:pt x="1462" y="362"/>
                </a:cubicBezTo>
                <a:cubicBezTo>
                  <a:pt x="1433" y="362"/>
                  <a:pt x="1410" y="352"/>
                  <a:pt x="1393" y="332"/>
                </a:cubicBezTo>
                <a:cubicBezTo>
                  <a:pt x="1375" y="313"/>
                  <a:pt x="1367" y="286"/>
                  <a:pt x="1367" y="253"/>
                </a:cubicBezTo>
                <a:cubicBezTo>
                  <a:pt x="1367" y="218"/>
                  <a:pt x="1375" y="190"/>
                  <a:pt x="1393" y="170"/>
                </a:cubicBezTo>
                <a:cubicBezTo>
                  <a:pt x="1410" y="150"/>
                  <a:pt x="1434" y="140"/>
                  <a:pt x="1463" y="140"/>
                </a:cubicBezTo>
                <a:cubicBezTo>
                  <a:pt x="1493" y="140"/>
                  <a:pt x="1516" y="149"/>
                  <a:pt x="1532" y="168"/>
                </a:cubicBezTo>
                <a:moveTo>
                  <a:pt x="1547" y="347"/>
                </a:moveTo>
                <a:cubicBezTo>
                  <a:pt x="1568" y="322"/>
                  <a:pt x="1579" y="291"/>
                  <a:pt x="1579" y="251"/>
                </a:cubicBezTo>
                <a:cubicBezTo>
                  <a:pt x="1579" y="210"/>
                  <a:pt x="1569" y="178"/>
                  <a:pt x="1548" y="154"/>
                </a:cubicBezTo>
                <a:cubicBezTo>
                  <a:pt x="1528" y="131"/>
                  <a:pt x="1499" y="119"/>
                  <a:pt x="1464" y="119"/>
                </a:cubicBezTo>
                <a:cubicBezTo>
                  <a:pt x="1427" y="119"/>
                  <a:pt x="1398" y="131"/>
                  <a:pt x="1376" y="155"/>
                </a:cubicBezTo>
                <a:cubicBezTo>
                  <a:pt x="1354" y="179"/>
                  <a:pt x="1343" y="211"/>
                  <a:pt x="1343" y="252"/>
                </a:cubicBezTo>
                <a:cubicBezTo>
                  <a:pt x="1343" y="292"/>
                  <a:pt x="1354" y="323"/>
                  <a:pt x="1375" y="347"/>
                </a:cubicBezTo>
                <a:cubicBezTo>
                  <a:pt x="1397" y="371"/>
                  <a:pt x="1425" y="383"/>
                  <a:pt x="1461" y="383"/>
                </a:cubicBezTo>
                <a:cubicBezTo>
                  <a:pt x="1497" y="383"/>
                  <a:pt x="1526" y="371"/>
                  <a:pt x="1547" y="347"/>
                </a:cubicBezTo>
                <a:moveTo>
                  <a:pt x="1215" y="383"/>
                </a:moveTo>
                <a:cubicBezTo>
                  <a:pt x="1240" y="383"/>
                  <a:pt x="1261" y="376"/>
                  <a:pt x="1276" y="364"/>
                </a:cubicBezTo>
                <a:cubicBezTo>
                  <a:pt x="1291" y="351"/>
                  <a:pt x="1299" y="334"/>
                  <a:pt x="1299" y="314"/>
                </a:cubicBezTo>
                <a:cubicBezTo>
                  <a:pt x="1299" y="297"/>
                  <a:pt x="1294" y="284"/>
                  <a:pt x="1285" y="274"/>
                </a:cubicBezTo>
                <a:cubicBezTo>
                  <a:pt x="1275" y="264"/>
                  <a:pt x="1257" y="253"/>
                  <a:pt x="1231" y="241"/>
                </a:cubicBezTo>
                <a:cubicBezTo>
                  <a:pt x="1217" y="235"/>
                  <a:pt x="1206" y="229"/>
                  <a:pt x="1199" y="224"/>
                </a:cubicBezTo>
                <a:cubicBezTo>
                  <a:pt x="1192" y="219"/>
                  <a:pt x="1187" y="214"/>
                  <a:pt x="1184" y="209"/>
                </a:cubicBezTo>
                <a:cubicBezTo>
                  <a:pt x="1181" y="203"/>
                  <a:pt x="1179" y="196"/>
                  <a:pt x="1179" y="186"/>
                </a:cubicBezTo>
                <a:cubicBezTo>
                  <a:pt x="1179" y="172"/>
                  <a:pt x="1184" y="161"/>
                  <a:pt x="1194" y="153"/>
                </a:cubicBezTo>
                <a:cubicBezTo>
                  <a:pt x="1205" y="144"/>
                  <a:pt x="1218" y="140"/>
                  <a:pt x="1234" y="140"/>
                </a:cubicBezTo>
                <a:cubicBezTo>
                  <a:pt x="1254" y="140"/>
                  <a:pt x="1273" y="146"/>
                  <a:pt x="1291" y="158"/>
                </a:cubicBezTo>
                <a:cubicBezTo>
                  <a:pt x="1291" y="132"/>
                  <a:pt x="1291" y="132"/>
                  <a:pt x="1291" y="132"/>
                </a:cubicBezTo>
                <a:cubicBezTo>
                  <a:pt x="1276" y="123"/>
                  <a:pt x="1258" y="119"/>
                  <a:pt x="1236" y="119"/>
                </a:cubicBezTo>
                <a:cubicBezTo>
                  <a:pt x="1213" y="119"/>
                  <a:pt x="1194" y="125"/>
                  <a:pt x="1179" y="138"/>
                </a:cubicBezTo>
                <a:cubicBezTo>
                  <a:pt x="1163" y="151"/>
                  <a:pt x="1156" y="167"/>
                  <a:pt x="1156" y="187"/>
                </a:cubicBezTo>
                <a:cubicBezTo>
                  <a:pt x="1156" y="205"/>
                  <a:pt x="1161" y="219"/>
                  <a:pt x="1171" y="230"/>
                </a:cubicBezTo>
                <a:cubicBezTo>
                  <a:pt x="1182" y="241"/>
                  <a:pt x="1198" y="251"/>
                  <a:pt x="1221" y="261"/>
                </a:cubicBezTo>
                <a:cubicBezTo>
                  <a:pt x="1241" y="270"/>
                  <a:pt x="1256" y="279"/>
                  <a:pt x="1264" y="286"/>
                </a:cubicBezTo>
                <a:cubicBezTo>
                  <a:pt x="1271" y="294"/>
                  <a:pt x="1275" y="303"/>
                  <a:pt x="1275" y="314"/>
                </a:cubicBezTo>
                <a:cubicBezTo>
                  <a:pt x="1275" y="346"/>
                  <a:pt x="1256" y="362"/>
                  <a:pt x="1217" y="362"/>
                </a:cubicBezTo>
                <a:cubicBezTo>
                  <a:pt x="1207" y="362"/>
                  <a:pt x="1197" y="360"/>
                  <a:pt x="1184" y="355"/>
                </a:cubicBezTo>
                <a:cubicBezTo>
                  <a:pt x="1172" y="351"/>
                  <a:pt x="1162" y="345"/>
                  <a:pt x="1155" y="338"/>
                </a:cubicBezTo>
                <a:cubicBezTo>
                  <a:pt x="1155" y="366"/>
                  <a:pt x="1155" y="366"/>
                  <a:pt x="1155" y="366"/>
                </a:cubicBezTo>
                <a:cubicBezTo>
                  <a:pt x="1171" y="377"/>
                  <a:pt x="1191" y="383"/>
                  <a:pt x="1215" y="383"/>
                </a:cubicBezTo>
                <a:moveTo>
                  <a:pt x="1058" y="168"/>
                </a:moveTo>
                <a:cubicBezTo>
                  <a:pt x="1075" y="187"/>
                  <a:pt x="1082" y="215"/>
                  <a:pt x="1082" y="251"/>
                </a:cubicBezTo>
                <a:cubicBezTo>
                  <a:pt x="1082" y="286"/>
                  <a:pt x="1074" y="313"/>
                  <a:pt x="1058" y="333"/>
                </a:cubicBezTo>
                <a:cubicBezTo>
                  <a:pt x="1042" y="352"/>
                  <a:pt x="1019" y="362"/>
                  <a:pt x="989" y="362"/>
                </a:cubicBezTo>
                <a:cubicBezTo>
                  <a:pt x="960" y="362"/>
                  <a:pt x="937" y="352"/>
                  <a:pt x="919" y="332"/>
                </a:cubicBezTo>
                <a:cubicBezTo>
                  <a:pt x="902" y="313"/>
                  <a:pt x="893" y="286"/>
                  <a:pt x="893" y="253"/>
                </a:cubicBezTo>
                <a:cubicBezTo>
                  <a:pt x="893" y="218"/>
                  <a:pt x="902" y="190"/>
                  <a:pt x="920" y="170"/>
                </a:cubicBezTo>
                <a:cubicBezTo>
                  <a:pt x="937" y="150"/>
                  <a:pt x="960" y="140"/>
                  <a:pt x="990" y="140"/>
                </a:cubicBezTo>
                <a:cubicBezTo>
                  <a:pt x="1020" y="140"/>
                  <a:pt x="1042" y="149"/>
                  <a:pt x="1058" y="168"/>
                </a:cubicBezTo>
                <a:moveTo>
                  <a:pt x="1074" y="347"/>
                </a:moveTo>
                <a:cubicBezTo>
                  <a:pt x="1095" y="322"/>
                  <a:pt x="1106" y="291"/>
                  <a:pt x="1106" y="251"/>
                </a:cubicBezTo>
                <a:cubicBezTo>
                  <a:pt x="1106" y="210"/>
                  <a:pt x="1096" y="178"/>
                  <a:pt x="1075" y="154"/>
                </a:cubicBezTo>
                <a:cubicBezTo>
                  <a:pt x="1054" y="131"/>
                  <a:pt x="1026" y="119"/>
                  <a:pt x="991" y="119"/>
                </a:cubicBezTo>
                <a:cubicBezTo>
                  <a:pt x="954" y="119"/>
                  <a:pt x="925" y="131"/>
                  <a:pt x="903" y="155"/>
                </a:cubicBezTo>
                <a:cubicBezTo>
                  <a:pt x="881" y="179"/>
                  <a:pt x="870" y="211"/>
                  <a:pt x="870" y="252"/>
                </a:cubicBezTo>
                <a:cubicBezTo>
                  <a:pt x="870" y="292"/>
                  <a:pt x="881" y="323"/>
                  <a:pt x="902" y="347"/>
                </a:cubicBezTo>
                <a:cubicBezTo>
                  <a:pt x="923" y="371"/>
                  <a:pt x="952" y="383"/>
                  <a:pt x="988" y="383"/>
                </a:cubicBezTo>
                <a:cubicBezTo>
                  <a:pt x="1024" y="383"/>
                  <a:pt x="1052" y="371"/>
                  <a:pt x="1074" y="347"/>
                </a:cubicBezTo>
                <a:moveTo>
                  <a:pt x="851" y="125"/>
                </a:moveTo>
                <a:cubicBezTo>
                  <a:pt x="844" y="122"/>
                  <a:pt x="835" y="120"/>
                  <a:pt x="826" y="120"/>
                </a:cubicBezTo>
                <a:cubicBezTo>
                  <a:pt x="810" y="120"/>
                  <a:pt x="796" y="126"/>
                  <a:pt x="783" y="136"/>
                </a:cubicBezTo>
                <a:cubicBezTo>
                  <a:pt x="771" y="147"/>
                  <a:pt x="762" y="162"/>
                  <a:pt x="756" y="181"/>
                </a:cubicBezTo>
                <a:cubicBezTo>
                  <a:pt x="755" y="181"/>
                  <a:pt x="755" y="181"/>
                  <a:pt x="755" y="181"/>
                </a:cubicBezTo>
                <a:cubicBezTo>
                  <a:pt x="755" y="125"/>
                  <a:pt x="755" y="125"/>
                  <a:pt x="755" y="125"/>
                </a:cubicBezTo>
                <a:cubicBezTo>
                  <a:pt x="733" y="125"/>
                  <a:pt x="733" y="125"/>
                  <a:pt x="733" y="125"/>
                </a:cubicBezTo>
                <a:cubicBezTo>
                  <a:pt x="733" y="377"/>
                  <a:pt x="733" y="377"/>
                  <a:pt x="733" y="377"/>
                </a:cubicBezTo>
                <a:cubicBezTo>
                  <a:pt x="755" y="377"/>
                  <a:pt x="755" y="377"/>
                  <a:pt x="755" y="377"/>
                </a:cubicBezTo>
                <a:cubicBezTo>
                  <a:pt x="755" y="259"/>
                  <a:pt x="755" y="259"/>
                  <a:pt x="755" y="259"/>
                </a:cubicBezTo>
                <a:cubicBezTo>
                  <a:pt x="755" y="235"/>
                  <a:pt x="758" y="214"/>
                  <a:pt x="764" y="196"/>
                </a:cubicBezTo>
                <a:cubicBezTo>
                  <a:pt x="770" y="178"/>
                  <a:pt x="778" y="164"/>
                  <a:pt x="789" y="155"/>
                </a:cubicBezTo>
                <a:cubicBezTo>
                  <a:pt x="800" y="145"/>
                  <a:pt x="811" y="141"/>
                  <a:pt x="825" y="141"/>
                </a:cubicBezTo>
                <a:cubicBezTo>
                  <a:pt x="835" y="141"/>
                  <a:pt x="843" y="143"/>
                  <a:pt x="851" y="149"/>
                </a:cubicBezTo>
                <a:cubicBezTo>
                  <a:pt x="851" y="125"/>
                  <a:pt x="851" y="125"/>
                  <a:pt x="851" y="125"/>
                </a:cubicBezTo>
                <a:cubicBezTo>
                  <a:pt x="851" y="125"/>
                  <a:pt x="851" y="125"/>
                  <a:pt x="851" y="125"/>
                </a:cubicBezTo>
                <a:close/>
                <a:moveTo>
                  <a:pt x="674" y="342"/>
                </a:moveTo>
                <a:cubicBezTo>
                  <a:pt x="655" y="355"/>
                  <a:pt x="633" y="362"/>
                  <a:pt x="608" y="362"/>
                </a:cubicBezTo>
                <a:cubicBezTo>
                  <a:pt x="581" y="362"/>
                  <a:pt x="559" y="352"/>
                  <a:pt x="542" y="332"/>
                </a:cubicBezTo>
                <a:cubicBezTo>
                  <a:pt x="526" y="312"/>
                  <a:pt x="518" y="286"/>
                  <a:pt x="518" y="254"/>
                </a:cubicBezTo>
                <a:cubicBezTo>
                  <a:pt x="518" y="232"/>
                  <a:pt x="522" y="212"/>
                  <a:pt x="530" y="195"/>
                </a:cubicBezTo>
                <a:cubicBezTo>
                  <a:pt x="538" y="177"/>
                  <a:pt x="550" y="164"/>
                  <a:pt x="565" y="154"/>
                </a:cubicBezTo>
                <a:cubicBezTo>
                  <a:pt x="580" y="144"/>
                  <a:pt x="597" y="140"/>
                  <a:pt x="616" y="140"/>
                </a:cubicBezTo>
                <a:cubicBezTo>
                  <a:pt x="637" y="140"/>
                  <a:pt x="657" y="145"/>
                  <a:pt x="675" y="156"/>
                </a:cubicBezTo>
                <a:cubicBezTo>
                  <a:pt x="675" y="131"/>
                  <a:pt x="675" y="131"/>
                  <a:pt x="675" y="131"/>
                </a:cubicBezTo>
                <a:cubicBezTo>
                  <a:pt x="657" y="123"/>
                  <a:pt x="638" y="119"/>
                  <a:pt x="619" y="119"/>
                </a:cubicBezTo>
                <a:cubicBezTo>
                  <a:pt x="595" y="119"/>
                  <a:pt x="574" y="125"/>
                  <a:pt x="555" y="136"/>
                </a:cubicBezTo>
                <a:cubicBezTo>
                  <a:pt x="536" y="148"/>
                  <a:pt x="521" y="164"/>
                  <a:pt x="510" y="185"/>
                </a:cubicBezTo>
                <a:cubicBezTo>
                  <a:pt x="500" y="206"/>
                  <a:pt x="494" y="230"/>
                  <a:pt x="494" y="255"/>
                </a:cubicBezTo>
                <a:cubicBezTo>
                  <a:pt x="494" y="280"/>
                  <a:pt x="499" y="302"/>
                  <a:pt x="508" y="321"/>
                </a:cubicBezTo>
                <a:cubicBezTo>
                  <a:pt x="518" y="341"/>
                  <a:pt x="531" y="356"/>
                  <a:pt x="548" y="367"/>
                </a:cubicBezTo>
                <a:cubicBezTo>
                  <a:pt x="566" y="377"/>
                  <a:pt x="585" y="383"/>
                  <a:pt x="607" y="383"/>
                </a:cubicBezTo>
                <a:cubicBezTo>
                  <a:pt x="633" y="383"/>
                  <a:pt x="655" y="377"/>
                  <a:pt x="674" y="366"/>
                </a:cubicBezTo>
                <a:cubicBezTo>
                  <a:pt x="674" y="342"/>
                  <a:pt x="674" y="342"/>
                  <a:pt x="674" y="342"/>
                </a:cubicBezTo>
                <a:cubicBezTo>
                  <a:pt x="674" y="342"/>
                  <a:pt x="674" y="342"/>
                  <a:pt x="674" y="342"/>
                </a:cubicBezTo>
                <a:close/>
                <a:moveTo>
                  <a:pt x="432" y="125"/>
                </a:moveTo>
                <a:cubicBezTo>
                  <a:pt x="410" y="125"/>
                  <a:pt x="410" y="125"/>
                  <a:pt x="410" y="125"/>
                </a:cubicBezTo>
                <a:cubicBezTo>
                  <a:pt x="410" y="377"/>
                  <a:pt x="410" y="377"/>
                  <a:pt x="410" y="377"/>
                </a:cubicBezTo>
                <a:cubicBezTo>
                  <a:pt x="432" y="377"/>
                  <a:pt x="432" y="377"/>
                  <a:pt x="432" y="377"/>
                </a:cubicBezTo>
                <a:cubicBezTo>
                  <a:pt x="432" y="125"/>
                  <a:pt x="432" y="125"/>
                  <a:pt x="432" y="125"/>
                </a:cubicBezTo>
                <a:cubicBezTo>
                  <a:pt x="432" y="125"/>
                  <a:pt x="432" y="125"/>
                  <a:pt x="432" y="125"/>
                </a:cubicBezTo>
                <a:close/>
                <a:moveTo>
                  <a:pt x="434" y="56"/>
                </a:moveTo>
                <a:cubicBezTo>
                  <a:pt x="438" y="52"/>
                  <a:pt x="440" y="48"/>
                  <a:pt x="440" y="43"/>
                </a:cubicBezTo>
                <a:cubicBezTo>
                  <a:pt x="440" y="37"/>
                  <a:pt x="438" y="33"/>
                  <a:pt x="434" y="29"/>
                </a:cubicBezTo>
                <a:cubicBezTo>
                  <a:pt x="430" y="26"/>
                  <a:pt x="426" y="24"/>
                  <a:pt x="421" y="24"/>
                </a:cubicBezTo>
                <a:cubicBezTo>
                  <a:pt x="416" y="24"/>
                  <a:pt x="412" y="26"/>
                  <a:pt x="408" y="29"/>
                </a:cubicBezTo>
                <a:cubicBezTo>
                  <a:pt x="404" y="33"/>
                  <a:pt x="402" y="37"/>
                  <a:pt x="402" y="43"/>
                </a:cubicBezTo>
                <a:cubicBezTo>
                  <a:pt x="402" y="48"/>
                  <a:pt x="404" y="53"/>
                  <a:pt x="408" y="56"/>
                </a:cubicBezTo>
                <a:cubicBezTo>
                  <a:pt x="412" y="60"/>
                  <a:pt x="416" y="62"/>
                  <a:pt x="421" y="62"/>
                </a:cubicBezTo>
                <a:cubicBezTo>
                  <a:pt x="426" y="62"/>
                  <a:pt x="431" y="60"/>
                  <a:pt x="434" y="56"/>
                </a:cubicBezTo>
                <a:moveTo>
                  <a:pt x="325" y="377"/>
                </a:moveTo>
                <a:cubicBezTo>
                  <a:pt x="325" y="24"/>
                  <a:pt x="325" y="24"/>
                  <a:pt x="325" y="24"/>
                </a:cubicBezTo>
                <a:cubicBezTo>
                  <a:pt x="304" y="24"/>
                  <a:pt x="304" y="24"/>
                  <a:pt x="304" y="24"/>
                </a:cubicBezTo>
                <a:cubicBezTo>
                  <a:pt x="175" y="306"/>
                  <a:pt x="175" y="306"/>
                  <a:pt x="175" y="306"/>
                </a:cubicBezTo>
                <a:cubicBezTo>
                  <a:pt x="164" y="337"/>
                  <a:pt x="164" y="337"/>
                  <a:pt x="164" y="337"/>
                </a:cubicBezTo>
                <a:cubicBezTo>
                  <a:pt x="163" y="337"/>
                  <a:pt x="163" y="337"/>
                  <a:pt x="163" y="337"/>
                </a:cubicBezTo>
                <a:cubicBezTo>
                  <a:pt x="155" y="315"/>
                  <a:pt x="155" y="315"/>
                  <a:pt x="155" y="315"/>
                </a:cubicBezTo>
                <a:cubicBezTo>
                  <a:pt x="152" y="308"/>
                  <a:pt x="152" y="308"/>
                  <a:pt x="152" y="308"/>
                </a:cubicBezTo>
                <a:cubicBezTo>
                  <a:pt x="22" y="24"/>
                  <a:pt x="22" y="24"/>
                  <a:pt x="22" y="24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377"/>
                  <a:pt x="0" y="377"/>
                  <a:pt x="0" y="377"/>
                </a:cubicBezTo>
                <a:cubicBezTo>
                  <a:pt x="24" y="377"/>
                  <a:pt x="24" y="377"/>
                  <a:pt x="24" y="377"/>
                </a:cubicBezTo>
                <a:cubicBezTo>
                  <a:pt x="24" y="121"/>
                  <a:pt x="24" y="121"/>
                  <a:pt x="24" y="121"/>
                </a:cubicBezTo>
                <a:cubicBezTo>
                  <a:pt x="24" y="103"/>
                  <a:pt x="23" y="88"/>
                  <a:pt x="22" y="74"/>
                </a:cubicBezTo>
                <a:cubicBezTo>
                  <a:pt x="23" y="74"/>
                  <a:pt x="23" y="74"/>
                  <a:pt x="23" y="74"/>
                </a:cubicBezTo>
                <a:cubicBezTo>
                  <a:pt x="26" y="87"/>
                  <a:pt x="30" y="98"/>
                  <a:pt x="35" y="107"/>
                </a:cubicBezTo>
                <a:cubicBezTo>
                  <a:pt x="159" y="377"/>
                  <a:pt x="159" y="377"/>
                  <a:pt x="159" y="377"/>
                </a:cubicBezTo>
                <a:cubicBezTo>
                  <a:pt x="167" y="377"/>
                  <a:pt x="167" y="377"/>
                  <a:pt x="167" y="377"/>
                </a:cubicBezTo>
                <a:cubicBezTo>
                  <a:pt x="291" y="105"/>
                  <a:pt x="291" y="105"/>
                  <a:pt x="291" y="105"/>
                </a:cubicBezTo>
                <a:cubicBezTo>
                  <a:pt x="304" y="75"/>
                  <a:pt x="304" y="75"/>
                  <a:pt x="304" y="75"/>
                </a:cubicBezTo>
                <a:cubicBezTo>
                  <a:pt x="305" y="75"/>
                  <a:pt x="305" y="75"/>
                  <a:pt x="305" y="75"/>
                </a:cubicBezTo>
                <a:cubicBezTo>
                  <a:pt x="302" y="127"/>
                  <a:pt x="302" y="127"/>
                  <a:pt x="302" y="127"/>
                </a:cubicBezTo>
                <a:cubicBezTo>
                  <a:pt x="302" y="377"/>
                  <a:pt x="302" y="377"/>
                  <a:pt x="302" y="377"/>
                </a:cubicBezTo>
                <a:cubicBezTo>
                  <a:pt x="325" y="377"/>
                  <a:pt x="325" y="377"/>
                  <a:pt x="325" y="377"/>
                </a:cubicBezTo>
                <a:cubicBezTo>
                  <a:pt x="325" y="377"/>
                  <a:pt x="325" y="377"/>
                  <a:pt x="325" y="37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2" name="TextBox 1"/>
          <p:cNvSpPr txBox="1"/>
          <p:nvPr userDrawn="1"/>
        </p:nvSpPr>
        <p:spPr>
          <a:xfrm>
            <a:off x="10624294" y="6375481"/>
            <a:ext cx="896425" cy="896552"/>
          </a:xfrm>
          <a:prstGeom prst="rect">
            <a:avLst/>
          </a:prstGeom>
        </p:spPr>
        <p:txBody>
          <a:bodyPr vert="horz" wrap="none" lIns="143428" tIns="89642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1961"/>
              </a:spcBef>
            </a:pPr>
            <a:endParaRPr lang="en-US" sz="1961" spc="49" err="1">
              <a:gradFill>
                <a:gsLst>
                  <a:gs pos="14159">
                    <a:schemeClr val="tx1"/>
                  </a:gs>
                  <a:gs pos="32000">
                    <a:schemeClr val="tx1"/>
                  </a:gs>
                </a:gsLst>
                <a:lin ang="54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12998160" y="6358878"/>
            <a:ext cx="896425" cy="896552"/>
          </a:xfrm>
          <a:prstGeom prst="rect">
            <a:avLst/>
          </a:prstGeom>
        </p:spPr>
        <p:txBody>
          <a:bodyPr vert="horz" wrap="none" lIns="143428" tIns="89642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1961"/>
              </a:spcBef>
            </a:pPr>
            <a:endParaRPr lang="en-US" sz="1961" spc="49" err="1">
              <a:gradFill>
                <a:gsLst>
                  <a:gs pos="14159">
                    <a:schemeClr val="tx1"/>
                  </a:gs>
                  <a:gs pos="32000">
                    <a:schemeClr val="tx1"/>
                  </a:gs>
                </a:gsLst>
                <a:lin ang="54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0785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SPLIT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 userDrawn="1"/>
        </p:nvSpPr>
        <p:spPr bwMode="auto">
          <a:xfrm rot="10800000" flipV="1">
            <a:off x="5279421" y="-1188"/>
            <a:ext cx="6912587" cy="6860381"/>
          </a:xfrm>
          <a:custGeom>
            <a:avLst/>
            <a:gdLst>
              <a:gd name="connsiteX0" fmla="*/ 3208981 w 6910787"/>
              <a:gd name="connsiteY0" fmla="*/ 0 h 6996953"/>
              <a:gd name="connsiteX1" fmla="*/ 0 w 6910787"/>
              <a:gd name="connsiteY1" fmla="*/ 0 h 6996953"/>
              <a:gd name="connsiteX2" fmla="*/ 0 w 6910787"/>
              <a:gd name="connsiteY2" fmla="*/ 6996953 h 6996953"/>
              <a:gd name="connsiteX3" fmla="*/ 6910787 w 6910787"/>
              <a:gd name="connsiteY3" fmla="*/ 6996953 h 699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10787" h="6996953">
                <a:moveTo>
                  <a:pt x="3208981" y="0"/>
                </a:moveTo>
                <a:lnTo>
                  <a:pt x="0" y="0"/>
                </a:lnTo>
                <a:lnTo>
                  <a:pt x="0" y="6996953"/>
                </a:lnTo>
                <a:lnTo>
                  <a:pt x="6910787" y="699695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213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85668" y="337744"/>
            <a:ext cx="6727600" cy="766329"/>
          </a:xfrm>
        </p:spPr>
        <p:txBody>
          <a:bodyPr lIns="0" tIns="0" rIns="0" bIns="0" anchor="t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5294" b="0" kern="1200" cap="none" spc="-98" baseline="0" dirty="0">
                <a:gradFill>
                  <a:gsLst>
                    <a:gs pos="63717">
                      <a:schemeClr val="tx1"/>
                    </a:gs>
                    <a:gs pos="35000">
                      <a:schemeClr val="tx1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36125" y="2133019"/>
            <a:ext cx="5014449" cy="2604438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36591" y="1635960"/>
            <a:ext cx="6073005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63717">
                      <a:schemeClr val="tx1"/>
                    </a:gs>
                    <a:gs pos="35000">
                      <a:schemeClr val="tx1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8560645" y="2133019"/>
            <a:ext cx="3175362" cy="2604438"/>
          </a:xfrm>
        </p:spPr>
        <p:txBody>
          <a:bodyPr lIns="0" tIns="0" rIns="0" bIns="0">
            <a:noAutofit/>
          </a:bodyPr>
          <a:lstStyle>
            <a:lvl1pPr marL="169629" marR="0" indent="-169629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lang="en-US" sz="1961" b="0" kern="1200" cap="none" spc="0" baseline="0" dirty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8558780" y="1635960"/>
            <a:ext cx="3177117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86726">
                      <a:schemeClr val="accent4"/>
                    </a:gs>
                    <a:gs pos="73451">
                      <a:schemeClr val="accent4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Freeform 5"/>
          <p:cNvSpPr>
            <a:spLocks noEditPoints="1"/>
          </p:cNvSpPr>
          <p:nvPr userDrawn="1"/>
        </p:nvSpPr>
        <p:spPr bwMode="auto">
          <a:xfrm>
            <a:off x="9035686" y="6255270"/>
            <a:ext cx="2700321" cy="197242"/>
          </a:xfrm>
          <a:custGeom>
            <a:avLst/>
            <a:gdLst>
              <a:gd name="T0" fmla="*/ 4039 w 6853"/>
              <a:gd name="T1" fmla="*/ 140 h 495"/>
              <a:gd name="T2" fmla="*/ 3975 w 6853"/>
              <a:gd name="T3" fmla="*/ 270 h 495"/>
              <a:gd name="T4" fmla="*/ 4302 w 6853"/>
              <a:gd name="T5" fmla="*/ 140 h 495"/>
              <a:gd name="T6" fmla="*/ 4368 w 6853"/>
              <a:gd name="T7" fmla="*/ 146 h 495"/>
              <a:gd name="T8" fmla="*/ 4446 w 6853"/>
              <a:gd name="T9" fmla="*/ 255 h 495"/>
              <a:gd name="T10" fmla="*/ 4620 w 6853"/>
              <a:gd name="T11" fmla="*/ 164 h 495"/>
              <a:gd name="T12" fmla="*/ 4990 w 6853"/>
              <a:gd name="T13" fmla="*/ 274 h 495"/>
              <a:gd name="T14" fmla="*/ 5032 w 6853"/>
              <a:gd name="T15" fmla="*/ 180 h 495"/>
              <a:gd name="T16" fmla="*/ 5029 w 6853"/>
              <a:gd name="T17" fmla="*/ 119 h 495"/>
              <a:gd name="T18" fmla="*/ 5141 w 6853"/>
              <a:gd name="T19" fmla="*/ 348 h 495"/>
              <a:gd name="T20" fmla="*/ 5223 w 6853"/>
              <a:gd name="T21" fmla="*/ 140 h 495"/>
              <a:gd name="T22" fmla="*/ 5367 w 6853"/>
              <a:gd name="T23" fmla="*/ 312 h 495"/>
              <a:gd name="T24" fmla="*/ 5554 w 6853"/>
              <a:gd name="T25" fmla="*/ 377 h 495"/>
              <a:gd name="T26" fmla="*/ 5462 w 6853"/>
              <a:gd name="T27" fmla="*/ 251 h 495"/>
              <a:gd name="T28" fmla="*/ 5805 w 6853"/>
              <a:gd name="T29" fmla="*/ 165 h 495"/>
              <a:gd name="T30" fmla="*/ 5633 w 6853"/>
              <a:gd name="T31" fmla="*/ 253 h 495"/>
              <a:gd name="T32" fmla="*/ 5918 w 6853"/>
              <a:gd name="T33" fmla="*/ 24 h 495"/>
              <a:gd name="T34" fmla="*/ 6179 w 6853"/>
              <a:gd name="T35" fmla="*/ 377 h 495"/>
              <a:gd name="T36" fmla="*/ 6032 w 6853"/>
              <a:gd name="T37" fmla="*/ 171 h 495"/>
              <a:gd name="T38" fmla="*/ 6453 w 6853"/>
              <a:gd name="T39" fmla="*/ 355 h 495"/>
              <a:gd name="T40" fmla="*/ 6444 w 6853"/>
              <a:gd name="T41" fmla="*/ 231 h 495"/>
              <a:gd name="T42" fmla="*/ 6636 w 6853"/>
              <a:gd name="T43" fmla="*/ 314 h 495"/>
              <a:gd name="T44" fmla="*/ 6554 w 6853"/>
              <a:gd name="T45" fmla="*/ 153 h 495"/>
              <a:gd name="T46" fmla="*/ 6708 w 6853"/>
              <a:gd name="T47" fmla="*/ 338 h 495"/>
              <a:gd name="T48" fmla="*/ 6846 w 6853"/>
              <a:gd name="T49" fmla="*/ 132 h 495"/>
              <a:gd name="T50" fmla="*/ 6769 w 6853"/>
              <a:gd name="T51" fmla="*/ 383 h 495"/>
              <a:gd name="T52" fmla="*/ 3745 w 6853"/>
              <a:gd name="T53" fmla="*/ 222 h 495"/>
              <a:gd name="T54" fmla="*/ 3550 w 6853"/>
              <a:gd name="T55" fmla="*/ 255 h 495"/>
              <a:gd name="T56" fmla="*/ 3737 w 6853"/>
              <a:gd name="T57" fmla="*/ 462 h 495"/>
              <a:gd name="T58" fmla="*/ 3324 w 6853"/>
              <a:gd name="T59" fmla="*/ 125 h 495"/>
              <a:gd name="T60" fmla="*/ 3493 w 6853"/>
              <a:gd name="T61" fmla="*/ 377 h 495"/>
              <a:gd name="T62" fmla="*/ 3210 w 6853"/>
              <a:gd name="T63" fmla="*/ 24 h 495"/>
              <a:gd name="T64" fmla="*/ 2956 w 6853"/>
              <a:gd name="T65" fmla="*/ 171 h 495"/>
              <a:gd name="T66" fmla="*/ 3102 w 6853"/>
              <a:gd name="T67" fmla="*/ 377 h 495"/>
              <a:gd name="T68" fmla="*/ 2769 w 6853"/>
              <a:gd name="T69" fmla="*/ 377 h 495"/>
              <a:gd name="T70" fmla="*/ 2603 w 6853"/>
              <a:gd name="T71" fmla="*/ 251 h 495"/>
              <a:gd name="T72" fmla="*/ 2673 w 6853"/>
              <a:gd name="T73" fmla="*/ 143 h 495"/>
              <a:gd name="T74" fmla="*/ 2585 w 6853"/>
              <a:gd name="T75" fmla="*/ 383 h 495"/>
              <a:gd name="T76" fmla="*/ 2417 w 6853"/>
              <a:gd name="T77" fmla="*/ 163 h 495"/>
              <a:gd name="T78" fmla="*/ 2253 w 6853"/>
              <a:gd name="T79" fmla="*/ 249 h 495"/>
              <a:gd name="T80" fmla="*/ 2212 w 6853"/>
              <a:gd name="T81" fmla="*/ 377 h 495"/>
              <a:gd name="T82" fmla="*/ 1820 w 6853"/>
              <a:gd name="T83" fmla="*/ 350 h 495"/>
              <a:gd name="T84" fmla="*/ 1744 w 6853"/>
              <a:gd name="T85" fmla="*/ 146 h 495"/>
              <a:gd name="T86" fmla="*/ 1641 w 6853"/>
              <a:gd name="T87" fmla="*/ 81 h 495"/>
              <a:gd name="T88" fmla="*/ 1663 w 6853"/>
              <a:gd name="T89" fmla="*/ 125 h 495"/>
              <a:gd name="T90" fmla="*/ 1393 w 6853"/>
              <a:gd name="T91" fmla="*/ 332 h 495"/>
              <a:gd name="T92" fmla="*/ 1343 w 6853"/>
              <a:gd name="T93" fmla="*/ 252 h 495"/>
              <a:gd name="T94" fmla="*/ 1184 w 6853"/>
              <a:gd name="T95" fmla="*/ 209 h 495"/>
              <a:gd name="T96" fmla="*/ 1221 w 6853"/>
              <a:gd name="T97" fmla="*/ 261 h 495"/>
              <a:gd name="T98" fmla="*/ 1058 w 6853"/>
              <a:gd name="T99" fmla="*/ 333 h 495"/>
              <a:gd name="T100" fmla="*/ 991 w 6853"/>
              <a:gd name="T101" fmla="*/ 119 h 495"/>
              <a:gd name="T102" fmla="*/ 755 w 6853"/>
              <a:gd name="T103" fmla="*/ 181 h 495"/>
              <a:gd name="T104" fmla="*/ 851 w 6853"/>
              <a:gd name="T105" fmla="*/ 125 h 495"/>
              <a:gd name="T106" fmla="*/ 675 w 6853"/>
              <a:gd name="T107" fmla="*/ 131 h 495"/>
              <a:gd name="T108" fmla="*/ 674 w 6853"/>
              <a:gd name="T109" fmla="*/ 342 h 495"/>
              <a:gd name="T110" fmla="*/ 421 w 6853"/>
              <a:gd name="T111" fmla="*/ 24 h 495"/>
              <a:gd name="T112" fmla="*/ 164 w 6853"/>
              <a:gd name="T113" fmla="*/ 337 h 495"/>
              <a:gd name="T114" fmla="*/ 23 w 6853"/>
              <a:gd name="T115" fmla="*/ 74 h 495"/>
              <a:gd name="T116" fmla="*/ 325 w 6853"/>
              <a:gd name="T117" fmla="*/ 377 h 4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853" h="495">
                <a:moveTo>
                  <a:pt x="4100" y="377"/>
                </a:moveTo>
                <a:cubicBezTo>
                  <a:pt x="4100" y="326"/>
                  <a:pt x="4100" y="326"/>
                  <a:pt x="4100" y="326"/>
                </a:cubicBezTo>
                <a:cubicBezTo>
                  <a:pt x="4099" y="326"/>
                  <a:pt x="4099" y="326"/>
                  <a:pt x="4099" y="326"/>
                </a:cubicBezTo>
                <a:cubicBezTo>
                  <a:pt x="4091" y="344"/>
                  <a:pt x="4080" y="357"/>
                  <a:pt x="4064" y="367"/>
                </a:cubicBezTo>
                <a:cubicBezTo>
                  <a:pt x="4049" y="378"/>
                  <a:pt x="4032" y="383"/>
                  <a:pt x="4013" y="383"/>
                </a:cubicBezTo>
                <a:cubicBezTo>
                  <a:pt x="3989" y="383"/>
                  <a:pt x="3970" y="376"/>
                  <a:pt x="3957" y="363"/>
                </a:cubicBezTo>
                <a:cubicBezTo>
                  <a:pt x="3943" y="349"/>
                  <a:pt x="3936" y="332"/>
                  <a:pt x="3936" y="312"/>
                </a:cubicBezTo>
                <a:cubicBezTo>
                  <a:pt x="3936" y="268"/>
                  <a:pt x="3965" y="241"/>
                  <a:pt x="4023" y="232"/>
                </a:cubicBezTo>
                <a:cubicBezTo>
                  <a:pt x="4100" y="221"/>
                  <a:pt x="4100" y="221"/>
                  <a:pt x="4100" y="221"/>
                </a:cubicBezTo>
                <a:cubicBezTo>
                  <a:pt x="4100" y="167"/>
                  <a:pt x="4080" y="140"/>
                  <a:pt x="4039" y="140"/>
                </a:cubicBezTo>
                <a:cubicBezTo>
                  <a:pt x="4012" y="140"/>
                  <a:pt x="3985" y="151"/>
                  <a:pt x="3958" y="173"/>
                </a:cubicBezTo>
                <a:cubicBezTo>
                  <a:pt x="3958" y="146"/>
                  <a:pt x="3958" y="146"/>
                  <a:pt x="3958" y="146"/>
                </a:cubicBezTo>
                <a:cubicBezTo>
                  <a:pt x="3968" y="138"/>
                  <a:pt x="3980" y="132"/>
                  <a:pt x="3996" y="127"/>
                </a:cubicBezTo>
                <a:cubicBezTo>
                  <a:pt x="4012" y="122"/>
                  <a:pt x="4027" y="119"/>
                  <a:pt x="4042" y="119"/>
                </a:cubicBezTo>
                <a:cubicBezTo>
                  <a:pt x="4067" y="119"/>
                  <a:pt x="4087" y="127"/>
                  <a:pt x="4102" y="143"/>
                </a:cubicBezTo>
                <a:cubicBezTo>
                  <a:pt x="4116" y="159"/>
                  <a:pt x="4123" y="182"/>
                  <a:pt x="4123" y="213"/>
                </a:cubicBezTo>
                <a:cubicBezTo>
                  <a:pt x="4123" y="377"/>
                  <a:pt x="4123" y="377"/>
                  <a:pt x="4123" y="377"/>
                </a:cubicBezTo>
                <a:lnTo>
                  <a:pt x="4100" y="377"/>
                </a:lnTo>
                <a:close/>
                <a:moveTo>
                  <a:pt x="4031" y="251"/>
                </a:moveTo>
                <a:cubicBezTo>
                  <a:pt x="4005" y="255"/>
                  <a:pt x="3986" y="261"/>
                  <a:pt x="3975" y="270"/>
                </a:cubicBezTo>
                <a:cubicBezTo>
                  <a:pt x="3965" y="278"/>
                  <a:pt x="3959" y="292"/>
                  <a:pt x="3959" y="311"/>
                </a:cubicBezTo>
                <a:cubicBezTo>
                  <a:pt x="3959" y="326"/>
                  <a:pt x="3964" y="338"/>
                  <a:pt x="3974" y="348"/>
                </a:cubicBezTo>
                <a:cubicBezTo>
                  <a:pt x="3984" y="357"/>
                  <a:pt x="3998" y="362"/>
                  <a:pt x="4016" y="362"/>
                </a:cubicBezTo>
                <a:cubicBezTo>
                  <a:pt x="4040" y="362"/>
                  <a:pt x="4060" y="353"/>
                  <a:pt x="4076" y="335"/>
                </a:cubicBezTo>
                <a:cubicBezTo>
                  <a:pt x="4092" y="317"/>
                  <a:pt x="4100" y="294"/>
                  <a:pt x="4100" y="266"/>
                </a:cubicBezTo>
                <a:cubicBezTo>
                  <a:pt x="4100" y="241"/>
                  <a:pt x="4100" y="241"/>
                  <a:pt x="4100" y="241"/>
                </a:cubicBezTo>
                <a:lnTo>
                  <a:pt x="4031" y="251"/>
                </a:lnTo>
                <a:close/>
                <a:moveTo>
                  <a:pt x="4367" y="377"/>
                </a:moveTo>
                <a:cubicBezTo>
                  <a:pt x="4367" y="230"/>
                  <a:pt x="4367" y="230"/>
                  <a:pt x="4367" y="230"/>
                </a:cubicBezTo>
                <a:cubicBezTo>
                  <a:pt x="4367" y="170"/>
                  <a:pt x="4346" y="140"/>
                  <a:pt x="4302" y="140"/>
                </a:cubicBezTo>
                <a:cubicBezTo>
                  <a:pt x="4278" y="140"/>
                  <a:pt x="4258" y="149"/>
                  <a:pt x="4242" y="166"/>
                </a:cubicBezTo>
                <a:cubicBezTo>
                  <a:pt x="4227" y="184"/>
                  <a:pt x="4219" y="206"/>
                  <a:pt x="4219" y="232"/>
                </a:cubicBezTo>
                <a:cubicBezTo>
                  <a:pt x="4219" y="377"/>
                  <a:pt x="4219" y="377"/>
                  <a:pt x="4219" y="377"/>
                </a:cubicBezTo>
                <a:cubicBezTo>
                  <a:pt x="4196" y="377"/>
                  <a:pt x="4196" y="377"/>
                  <a:pt x="4196" y="377"/>
                </a:cubicBezTo>
                <a:cubicBezTo>
                  <a:pt x="4196" y="125"/>
                  <a:pt x="4196" y="125"/>
                  <a:pt x="4196" y="125"/>
                </a:cubicBezTo>
                <a:cubicBezTo>
                  <a:pt x="4219" y="125"/>
                  <a:pt x="4219" y="125"/>
                  <a:pt x="4219" y="125"/>
                </a:cubicBezTo>
                <a:cubicBezTo>
                  <a:pt x="4219" y="171"/>
                  <a:pt x="4219" y="171"/>
                  <a:pt x="4219" y="171"/>
                </a:cubicBezTo>
                <a:cubicBezTo>
                  <a:pt x="4220" y="171"/>
                  <a:pt x="4220" y="171"/>
                  <a:pt x="4220" y="171"/>
                </a:cubicBezTo>
                <a:cubicBezTo>
                  <a:pt x="4238" y="136"/>
                  <a:pt x="4267" y="119"/>
                  <a:pt x="4306" y="119"/>
                </a:cubicBezTo>
                <a:cubicBezTo>
                  <a:pt x="4333" y="119"/>
                  <a:pt x="4354" y="128"/>
                  <a:pt x="4368" y="146"/>
                </a:cubicBezTo>
                <a:cubicBezTo>
                  <a:pt x="4383" y="164"/>
                  <a:pt x="4390" y="190"/>
                  <a:pt x="4390" y="224"/>
                </a:cubicBezTo>
                <a:cubicBezTo>
                  <a:pt x="4390" y="377"/>
                  <a:pt x="4390" y="377"/>
                  <a:pt x="4390" y="377"/>
                </a:cubicBezTo>
                <a:lnTo>
                  <a:pt x="4367" y="377"/>
                </a:lnTo>
                <a:close/>
                <a:moveTo>
                  <a:pt x="4642" y="377"/>
                </a:moveTo>
                <a:cubicBezTo>
                  <a:pt x="4642" y="331"/>
                  <a:pt x="4642" y="331"/>
                  <a:pt x="4642" y="331"/>
                </a:cubicBezTo>
                <a:cubicBezTo>
                  <a:pt x="4641" y="331"/>
                  <a:pt x="4641" y="331"/>
                  <a:pt x="4641" y="331"/>
                </a:cubicBezTo>
                <a:cubicBezTo>
                  <a:pt x="4633" y="347"/>
                  <a:pt x="4621" y="360"/>
                  <a:pt x="4605" y="369"/>
                </a:cubicBezTo>
                <a:cubicBezTo>
                  <a:pt x="4589" y="378"/>
                  <a:pt x="4571" y="383"/>
                  <a:pt x="4551" y="383"/>
                </a:cubicBezTo>
                <a:cubicBezTo>
                  <a:pt x="4520" y="383"/>
                  <a:pt x="4494" y="372"/>
                  <a:pt x="4475" y="349"/>
                </a:cubicBezTo>
                <a:cubicBezTo>
                  <a:pt x="4455" y="326"/>
                  <a:pt x="4446" y="295"/>
                  <a:pt x="4446" y="255"/>
                </a:cubicBezTo>
                <a:cubicBezTo>
                  <a:pt x="4446" y="215"/>
                  <a:pt x="4456" y="182"/>
                  <a:pt x="4478" y="157"/>
                </a:cubicBezTo>
                <a:cubicBezTo>
                  <a:pt x="4499" y="132"/>
                  <a:pt x="4527" y="119"/>
                  <a:pt x="4561" y="119"/>
                </a:cubicBezTo>
                <a:cubicBezTo>
                  <a:pt x="4598" y="119"/>
                  <a:pt x="4625" y="134"/>
                  <a:pt x="4641" y="165"/>
                </a:cubicBezTo>
                <a:cubicBezTo>
                  <a:pt x="4642" y="165"/>
                  <a:pt x="4642" y="165"/>
                  <a:pt x="4642" y="165"/>
                </a:cubicBezTo>
                <a:cubicBezTo>
                  <a:pt x="4642" y="4"/>
                  <a:pt x="4642" y="4"/>
                  <a:pt x="4642" y="4"/>
                </a:cubicBezTo>
                <a:cubicBezTo>
                  <a:pt x="4665" y="4"/>
                  <a:pt x="4665" y="4"/>
                  <a:pt x="4665" y="4"/>
                </a:cubicBezTo>
                <a:cubicBezTo>
                  <a:pt x="4665" y="377"/>
                  <a:pt x="4665" y="377"/>
                  <a:pt x="4665" y="377"/>
                </a:cubicBezTo>
                <a:lnTo>
                  <a:pt x="4642" y="377"/>
                </a:lnTo>
                <a:close/>
                <a:moveTo>
                  <a:pt x="4642" y="224"/>
                </a:moveTo>
                <a:cubicBezTo>
                  <a:pt x="4642" y="200"/>
                  <a:pt x="4635" y="180"/>
                  <a:pt x="4620" y="164"/>
                </a:cubicBezTo>
                <a:cubicBezTo>
                  <a:pt x="4605" y="148"/>
                  <a:pt x="4585" y="140"/>
                  <a:pt x="4560" y="140"/>
                </a:cubicBezTo>
                <a:cubicBezTo>
                  <a:pt x="4534" y="140"/>
                  <a:pt x="4512" y="150"/>
                  <a:pt x="4495" y="170"/>
                </a:cubicBezTo>
                <a:cubicBezTo>
                  <a:pt x="4478" y="190"/>
                  <a:pt x="4469" y="218"/>
                  <a:pt x="4469" y="253"/>
                </a:cubicBezTo>
                <a:cubicBezTo>
                  <a:pt x="4469" y="288"/>
                  <a:pt x="4477" y="315"/>
                  <a:pt x="4492" y="334"/>
                </a:cubicBezTo>
                <a:cubicBezTo>
                  <a:pt x="4508" y="353"/>
                  <a:pt x="4528" y="362"/>
                  <a:pt x="4552" y="362"/>
                </a:cubicBezTo>
                <a:cubicBezTo>
                  <a:pt x="4581" y="362"/>
                  <a:pt x="4603" y="353"/>
                  <a:pt x="4619" y="336"/>
                </a:cubicBezTo>
                <a:cubicBezTo>
                  <a:pt x="4634" y="318"/>
                  <a:pt x="4642" y="296"/>
                  <a:pt x="4642" y="271"/>
                </a:cubicBezTo>
                <a:lnTo>
                  <a:pt x="4642" y="224"/>
                </a:lnTo>
                <a:close/>
                <a:moveTo>
                  <a:pt x="5037" y="377"/>
                </a:moveTo>
                <a:cubicBezTo>
                  <a:pt x="4990" y="274"/>
                  <a:pt x="4990" y="274"/>
                  <a:pt x="4990" y="274"/>
                </a:cubicBezTo>
                <a:cubicBezTo>
                  <a:pt x="4980" y="252"/>
                  <a:pt x="4971" y="238"/>
                  <a:pt x="4961" y="231"/>
                </a:cubicBezTo>
                <a:cubicBezTo>
                  <a:pt x="4951" y="223"/>
                  <a:pt x="4939" y="220"/>
                  <a:pt x="4925" y="220"/>
                </a:cubicBezTo>
                <a:cubicBezTo>
                  <a:pt x="4881" y="220"/>
                  <a:pt x="4881" y="220"/>
                  <a:pt x="4881" y="220"/>
                </a:cubicBezTo>
                <a:cubicBezTo>
                  <a:pt x="4881" y="377"/>
                  <a:pt x="4881" y="377"/>
                  <a:pt x="4881" y="377"/>
                </a:cubicBezTo>
                <a:cubicBezTo>
                  <a:pt x="4857" y="377"/>
                  <a:pt x="4857" y="377"/>
                  <a:pt x="4857" y="377"/>
                </a:cubicBezTo>
                <a:cubicBezTo>
                  <a:pt x="4857" y="24"/>
                  <a:pt x="4857" y="24"/>
                  <a:pt x="4857" y="24"/>
                </a:cubicBezTo>
                <a:cubicBezTo>
                  <a:pt x="4954" y="24"/>
                  <a:pt x="4954" y="24"/>
                  <a:pt x="4954" y="24"/>
                </a:cubicBezTo>
                <a:cubicBezTo>
                  <a:pt x="4985" y="24"/>
                  <a:pt x="5010" y="33"/>
                  <a:pt x="5028" y="50"/>
                </a:cubicBezTo>
                <a:cubicBezTo>
                  <a:pt x="5045" y="66"/>
                  <a:pt x="5054" y="89"/>
                  <a:pt x="5054" y="116"/>
                </a:cubicBezTo>
                <a:cubicBezTo>
                  <a:pt x="5054" y="141"/>
                  <a:pt x="5047" y="163"/>
                  <a:pt x="5032" y="180"/>
                </a:cubicBezTo>
                <a:cubicBezTo>
                  <a:pt x="5018" y="197"/>
                  <a:pt x="4997" y="208"/>
                  <a:pt x="4971" y="213"/>
                </a:cubicBezTo>
                <a:cubicBezTo>
                  <a:pt x="4971" y="214"/>
                  <a:pt x="4971" y="214"/>
                  <a:pt x="4971" y="214"/>
                </a:cubicBezTo>
                <a:cubicBezTo>
                  <a:pt x="4985" y="219"/>
                  <a:pt x="4999" y="236"/>
                  <a:pt x="5012" y="264"/>
                </a:cubicBezTo>
                <a:cubicBezTo>
                  <a:pt x="5064" y="377"/>
                  <a:pt x="5064" y="377"/>
                  <a:pt x="5064" y="377"/>
                </a:cubicBezTo>
                <a:lnTo>
                  <a:pt x="5037" y="377"/>
                </a:lnTo>
                <a:close/>
                <a:moveTo>
                  <a:pt x="4881" y="47"/>
                </a:moveTo>
                <a:cubicBezTo>
                  <a:pt x="4881" y="198"/>
                  <a:pt x="4881" y="198"/>
                  <a:pt x="4881" y="198"/>
                </a:cubicBezTo>
                <a:cubicBezTo>
                  <a:pt x="4942" y="198"/>
                  <a:pt x="4942" y="198"/>
                  <a:pt x="4942" y="198"/>
                </a:cubicBezTo>
                <a:cubicBezTo>
                  <a:pt x="4968" y="198"/>
                  <a:pt x="4990" y="191"/>
                  <a:pt x="5006" y="176"/>
                </a:cubicBezTo>
                <a:cubicBezTo>
                  <a:pt x="5021" y="162"/>
                  <a:pt x="5029" y="143"/>
                  <a:pt x="5029" y="119"/>
                </a:cubicBezTo>
                <a:cubicBezTo>
                  <a:pt x="5029" y="96"/>
                  <a:pt x="5022" y="79"/>
                  <a:pt x="5008" y="66"/>
                </a:cubicBezTo>
                <a:cubicBezTo>
                  <a:pt x="4994" y="53"/>
                  <a:pt x="4973" y="47"/>
                  <a:pt x="4947" y="47"/>
                </a:cubicBezTo>
                <a:lnTo>
                  <a:pt x="4881" y="47"/>
                </a:lnTo>
                <a:close/>
                <a:moveTo>
                  <a:pt x="5134" y="252"/>
                </a:moveTo>
                <a:cubicBezTo>
                  <a:pt x="5134" y="286"/>
                  <a:pt x="5142" y="313"/>
                  <a:pt x="5158" y="333"/>
                </a:cubicBezTo>
                <a:cubicBezTo>
                  <a:pt x="5174" y="352"/>
                  <a:pt x="5196" y="362"/>
                  <a:pt x="5224" y="362"/>
                </a:cubicBezTo>
                <a:cubicBezTo>
                  <a:pt x="5252" y="362"/>
                  <a:pt x="5280" y="352"/>
                  <a:pt x="5307" y="331"/>
                </a:cubicBezTo>
                <a:cubicBezTo>
                  <a:pt x="5307" y="355"/>
                  <a:pt x="5307" y="355"/>
                  <a:pt x="5307" y="355"/>
                </a:cubicBezTo>
                <a:cubicBezTo>
                  <a:pt x="5281" y="374"/>
                  <a:pt x="5251" y="383"/>
                  <a:pt x="5219" y="383"/>
                </a:cubicBezTo>
                <a:cubicBezTo>
                  <a:pt x="5187" y="383"/>
                  <a:pt x="5161" y="371"/>
                  <a:pt x="5141" y="348"/>
                </a:cubicBezTo>
                <a:cubicBezTo>
                  <a:pt x="5121" y="325"/>
                  <a:pt x="5111" y="292"/>
                  <a:pt x="5111" y="249"/>
                </a:cubicBezTo>
                <a:cubicBezTo>
                  <a:pt x="5111" y="213"/>
                  <a:pt x="5121" y="182"/>
                  <a:pt x="5142" y="157"/>
                </a:cubicBezTo>
                <a:cubicBezTo>
                  <a:pt x="5163" y="132"/>
                  <a:pt x="5190" y="119"/>
                  <a:pt x="5224" y="119"/>
                </a:cubicBezTo>
                <a:cubicBezTo>
                  <a:pt x="5255" y="119"/>
                  <a:pt x="5279" y="130"/>
                  <a:pt x="5296" y="152"/>
                </a:cubicBezTo>
                <a:cubicBezTo>
                  <a:pt x="5312" y="174"/>
                  <a:pt x="5321" y="204"/>
                  <a:pt x="5321" y="242"/>
                </a:cubicBezTo>
                <a:cubicBezTo>
                  <a:pt x="5321" y="252"/>
                  <a:pt x="5321" y="252"/>
                  <a:pt x="5321" y="252"/>
                </a:cubicBezTo>
                <a:lnTo>
                  <a:pt x="5134" y="252"/>
                </a:lnTo>
                <a:close/>
                <a:moveTo>
                  <a:pt x="5297" y="231"/>
                </a:moveTo>
                <a:cubicBezTo>
                  <a:pt x="5296" y="202"/>
                  <a:pt x="5289" y="180"/>
                  <a:pt x="5276" y="164"/>
                </a:cubicBezTo>
                <a:cubicBezTo>
                  <a:pt x="5263" y="148"/>
                  <a:pt x="5245" y="140"/>
                  <a:pt x="5223" y="140"/>
                </a:cubicBezTo>
                <a:cubicBezTo>
                  <a:pt x="5199" y="140"/>
                  <a:pt x="5179" y="148"/>
                  <a:pt x="5164" y="163"/>
                </a:cubicBezTo>
                <a:cubicBezTo>
                  <a:pt x="5148" y="179"/>
                  <a:pt x="5139" y="202"/>
                  <a:pt x="5135" y="231"/>
                </a:cubicBezTo>
                <a:lnTo>
                  <a:pt x="5297" y="231"/>
                </a:lnTo>
                <a:close/>
                <a:moveTo>
                  <a:pt x="5531" y="377"/>
                </a:moveTo>
                <a:cubicBezTo>
                  <a:pt x="5531" y="326"/>
                  <a:pt x="5531" y="326"/>
                  <a:pt x="5531" y="326"/>
                </a:cubicBezTo>
                <a:cubicBezTo>
                  <a:pt x="5530" y="326"/>
                  <a:pt x="5530" y="326"/>
                  <a:pt x="5530" y="326"/>
                </a:cubicBezTo>
                <a:cubicBezTo>
                  <a:pt x="5522" y="344"/>
                  <a:pt x="5511" y="357"/>
                  <a:pt x="5495" y="367"/>
                </a:cubicBezTo>
                <a:cubicBezTo>
                  <a:pt x="5480" y="378"/>
                  <a:pt x="5463" y="383"/>
                  <a:pt x="5444" y="383"/>
                </a:cubicBezTo>
                <a:cubicBezTo>
                  <a:pt x="5420" y="383"/>
                  <a:pt x="5402" y="376"/>
                  <a:pt x="5388" y="363"/>
                </a:cubicBezTo>
                <a:cubicBezTo>
                  <a:pt x="5374" y="349"/>
                  <a:pt x="5367" y="332"/>
                  <a:pt x="5367" y="312"/>
                </a:cubicBezTo>
                <a:cubicBezTo>
                  <a:pt x="5367" y="268"/>
                  <a:pt x="5396" y="241"/>
                  <a:pt x="5454" y="232"/>
                </a:cubicBezTo>
                <a:cubicBezTo>
                  <a:pt x="5531" y="221"/>
                  <a:pt x="5531" y="221"/>
                  <a:pt x="5531" y="221"/>
                </a:cubicBezTo>
                <a:cubicBezTo>
                  <a:pt x="5531" y="167"/>
                  <a:pt x="5511" y="140"/>
                  <a:pt x="5470" y="140"/>
                </a:cubicBezTo>
                <a:cubicBezTo>
                  <a:pt x="5443" y="140"/>
                  <a:pt x="5416" y="151"/>
                  <a:pt x="5390" y="173"/>
                </a:cubicBezTo>
                <a:cubicBezTo>
                  <a:pt x="5390" y="146"/>
                  <a:pt x="5390" y="146"/>
                  <a:pt x="5390" y="146"/>
                </a:cubicBezTo>
                <a:cubicBezTo>
                  <a:pt x="5399" y="138"/>
                  <a:pt x="5412" y="132"/>
                  <a:pt x="5428" y="127"/>
                </a:cubicBezTo>
                <a:cubicBezTo>
                  <a:pt x="5443" y="122"/>
                  <a:pt x="5458" y="119"/>
                  <a:pt x="5473" y="119"/>
                </a:cubicBezTo>
                <a:cubicBezTo>
                  <a:pt x="5498" y="119"/>
                  <a:pt x="5518" y="127"/>
                  <a:pt x="5533" y="143"/>
                </a:cubicBezTo>
                <a:cubicBezTo>
                  <a:pt x="5547" y="159"/>
                  <a:pt x="5554" y="182"/>
                  <a:pt x="5554" y="213"/>
                </a:cubicBezTo>
                <a:cubicBezTo>
                  <a:pt x="5554" y="377"/>
                  <a:pt x="5554" y="377"/>
                  <a:pt x="5554" y="377"/>
                </a:cubicBezTo>
                <a:lnTo>
                  <a:pt x="5531" y="377"/>
                </a:lnTo>
                <a:close/>
                <a:moveTo>
                  <a:pt x="5462" y="251"/>
                </a:moveTo>
                <a:cubicBezTo>
                  <a:pt x="5436" y="255"/>
                  <a:pt x="5417" y="261"/>
                  <a:pt x="5407" y="270"/>
                </a:cubicBezTo>
                <a:cubicBezTo>
                  <a:pt x="5396" y="278"/>
                  <a:pt x="5391" y="292"/>
                  <a:pt x="5391" y="311"/>
                </a:cubicBezTo>
                <a:cubicBezTo>
                  <a:pt x="5391" y="326"/>
                  <a:pt x="5395" y="338"/>
                  <a:pt x="5405" y="348"/>
                </a:cubicBezTo>
                <a:cubicBezTo>
                  <a:pt x="5415" y="357"/>
                  <a:pt x="5429" y="362"/>
                  <a:pt x="5447" y="362"/>
                </a:cubicBezTo>
                <a:cubicBezTo>
                  <a:pt x="5471" y="362"/>
                  <a:pt x="5491" y="353"/>
                  <a:pt x="5507" y="335"/>
                </a:cubicBezTo>
                <a:cubicBezTo>
                  <a:pt x="5523" y="317"/>
                  <a:pt x="5531" y="294"/>
                  <a:pt x="5531" y="266"/>
                </a:cubicBezTo>
                <a:cubicBezTo>
                  <a:pt x="5531" y="241"/>
                  <a:pt x="5531" y="241"/>
                  <a:pt x="5531" y="241"/>
                </a:cubicBezTo>
                <a:lnTo>
                  <a:pt x="5462" y="251"/>
                </a:lnTo>
                <a:close/>
                <a:moveTo>
                  <a:pt x="5806" y="377"/>
                </a:moveTo>
                <a:cubicBezTo>
                  <a:pt x="5806" y="331"/>
                  <a:pt x="5806" y="331"/>
                  <a:pt x="5806" y="331"/>
                </a:cubicBezTo>
                <a:cubicBezTo>
                  <a:pt x="5805" y="331"/>
                  <a:pt x="5805" y="331"/>
                  <a:pt x="5805" y="331"/>
                </a:cubicBezTo>
                <a:cubicBezTo>
                  <a:pt x="5797" y="347"/>
                  <a:pt x="5785" y="360"/>
                  <a:pt x="5769" y="369"/>
                </a:cubicBezTo>
                <a:cubicBezTo>
                  <a:pt x="5753" y="378"/>
                  <a:pt x="5735" y="383"/>
                  <a:pt x="5715" y="383"/>
                </a:cubicBezTo>
                <a:cubicBezTo>
                  <a:pt x="5684" y="383"/>
                  <a:pt x="5658" y="372"/>
                  <a:pt x="5639" y="349"/>
                </a:cubicBezTo>
                <a:cubicBezTo>
                  <a:pt x="5619" y="326"/>
                  <a:pt x="5609" y="295"/>
                  <a:pt x="5609" y="255"/>
                </a:cubicBezTo>
                <a:cubicBezTo>
                  <a:pt x="5609" y="215"/>
                  <a:pt x="5620" y="182"/>
                  <a:pt x="5641" y="157"/>
                </a:cubicBezTo>
                <a:cubicBezTo>
                  <a:pt x="5663" y="132"/>
                  <a:pt x="5691" y="119"/>
                  <a:pt x="5725" y="119"/>
                </a:cubicBezTo>
                <a:cubicBezTo>
                  <a:pt x="5762" y="119"/>
                  <a:pt x="5789" y="134"/>
                  <a:pt x="5805" y="165"/>
                </a:cubicBezTo>
                <a:cubicBezTo>
                  <a:pt x="5806" y="165"/>
                  <a:pt x="5806" y="165"/>
                  <a:pt x="5806" y="165"/>
                </a:cubicBezTo>
                <a:cubicBezTo>
                  <a:pt x="5806" y="4"/>
                  <a:pt x="5806" y="4"/>
                  <a:pt x="5806" y="4"/>
                </a:cubicBezTo>
                <a:cubicBezTo>
                  <a:pt x="5829" y="4"/>
                  <a:pt x="5829" y="4"/>
                  <a:pt x="5829" y="4"/>
                </a:cubicBezTo>
                <a:cubicBezTo>
                  <a:pt x="5829" y="377"/>
                  <a:pt x="5829" y="377"/>
                  <a:pt x="5829" y="377"/>
                </a:cubicBezTo>
                <a:lnTo>
                  <a:pt x="5806" y="377"/>
                </a:lnTo>
                <a:close/>
                <a:moveTo>
                  <a:pt x="5806" y="224"/>
                </a:moveTo>
                <a:cubicBezTo>
                  <a:pt x="5806" y="200"/>
                  <a:pt x="5799" y="180"/>
                  <a:pt x="5784" y="164"/>
                </a:cubicBezTo>
                <a:cubicBezTo>
                  <a:pt x="5769" y="148"/>
                  <a:pt x="5749" y="140"/>
                  <a:pt x="5724" y="140"/>
                </a:cubicBezTo>
                <a:cubicBezTo>
                  <a:pt x="5698" y="140"/>
                  <a:pt x="5676" y="150"/>
                  <a:pt x="5659" y="170"/>
                </a:cubicBezTo>
                <a:cubicBezTo>
                  <a:pt x="5642" y="190"/>
                  <a:pt x="5633" y="218"/>
                  <a:pt x="5633" y="253"/>
                </a:cubicBezTo>
                <a:cubicBezTo>
                  <a:pt x="5633" y="288"/>
                  <a:pt x="5641" y="315"/>
                  <a:pt x="5656" y="334"/>
                </a:cubicBezTo>
                <a:cubicBezTo>
                  <a:pt x="5672" y="353"/>
                  <a:pt x="5692" y="362"/>
                  <a:pt x="5716" y="362"/>
                </a:cubicBezTo>
                <a:cubicBezTo>
                  <a:pt x="5745" y="362"/>
                  <a:pt x="5767" y="353"/>
                  <a:pt x="5783" y="336"/>
                </a:cubicBezTo>
                <a:cubicBezTo>
                  <a:pt x="5798" y="318"/>
                  <a:pt x="5806" y="296"/>
                  <a:pt x="5806" y="271"/>
                </a:cubicBezTo>
                <a:lnTo>
                  <a:pt x="5806" y="224"/>
                </a:lnTo>
                <a:close/>
                <a:moveTo>
                  <a:pt x="5918" y="62"/>
                </a:moveTo>
                <a:cubicBezTo>
                  <a:pt x="5913" y="62"/>
                  <a:pt x="5909" y="60"/>
                  <a:pt x="5905" y="56"/>
                </a:cubicBezTo>
                <a:cubicBezTo>
                  <a:pt x="5902" y="53"/>
                  <a:pt x="5900" y="48"/>
                  <a:pt x="5900" y="43"/>
                </a:cubicBezTo>
                <a:cubicBezTo>
                  <a:pt x="5900" y="37"/>
                  <a:pt x="5902" y="33"/>
                  <a:pt x="5905" y="29"/>
                </a:cubicBezTo>
                <a:cubicBezTo>
                  <a:pt x="5909" y="26"/>
                  <a:pt x="5914" y="24"/>
                  <a:pt x="5918" y="24"/>
                </a:cubicBezTo>
                <a:cubicBezTo>
                  <a:pt x="5923" y="24"/>
                  <a:pt x="5928" y="26"/>
                  <a:pt x="5932" y="29"/>
                </a:cubicBezTo>
                <a:cubicBezTo>
                  <a:pt x="5936" y="33"/>
                  <a:pt x="5938" y="37"/>
                  <a:pt x="5938" y="43"/>
                </a:cubicBezTo>
                <a:cubicBezTo>
                  <a:pt x="5938" y="48"/>
                  <a:pt x="5936" y="52"/>
                  <a:pt x="5932" y="56"/>
                </a:cubicBezTo>
                <a:cubicBezTo>
                  <a:pt x="5928" y="60"/>
                  <a:pt x="5924" y="62"/>
                  <a:pt x="5918" y="62"/>
                </a:cubicBezTo>
                <a:close/>
                <a:moveTo>
                  <a:pt x="5907" y="377"/>
                </a:moveTo>
                <a:cubicBezTo>
                  <a:pt x="5907" y="125"/>
                  <a:pt x="5907" y="125"/>
                  <a:pt x="5907" y="125"/>
                </a:cubicBezTo>
                <a:cubicBezTo>
                  <a:pt x="5930" y="125"/>
                  <a:pt x="5930" y="125"/>
                  <a:pt x="5930" y="125"/>
                </a:cubicBezTo>
                <a:cubicBezTo>
                  <a:pt x="5930" y="377"/>
                  <a:pt x="5930" y="377"/>
                  <a:pt x="5930" y="377"/>
                </a:cubicBezTo>
                <a:lnTo>
                  <a:pt x="5907" y="377"/>
                </a:lnTo>
                <a:close/>
                <a:moveTo>
                  <a:pt x="6179" y="377"/>
                </a:moveTo>
                <a:cubicBezTo>
                  <a:pt x="6179" y="230"/>
                  <a:pt x="6179" y="230"/>
                  <a:pt x="6179" y="230"/>
                </a:cubicBezTo>
                <a:cubicBezTo>
                  <a:pt x="6179" y="170"/>
                  <a:pt x="6158" y="140"/>
                  <a:pt x="6114" y="140"/>
                </a:cubicBezTo>
                <a:cubicBezTo>
                  <a:pt x="6090" y="140"/>
                  <a:pt x="6070" y="149"/>
                  <a:pt x="6054" y="166"/>
                </a:cubicBezTo>
                <a:cubicBezTo>
                  <a:pt x="6039" y="184"/>
                  <a:pt x="6031" y="206"/>
                  <a:pt x="6031" y="232"/>
                </a:cubicBezTo>
                <a:cubicBezTo>
                  <a:pt x="6031" y="377"/>
                  <a:pt x="6031" y="377"/>
                  <a:pt x="6031" y="377"/>
                </a:cubicBezTo>
                <a:cubicBezTo>
                  <a:pt x="6008" y="377"/>
                  <a:pt x="6008" y="377"/>
                  <a:pt x="6008" y="377"/>
                </a:cubicBezTo>
                <a:cubicBezTo>
                  <a:pt x="6008" y="125"/>
                  <a:pt x="6008" y="125"/>
                  <a:pt x="6008" y="125"/>
                </a:cubicBezTo>
                <a:cubicBezTo>
                  <a:pt x="6031" y="125"/>
                  <a:pt x="6031" y="125"/>
                  <a:pt x="6031" y="125"/>
                </a:cubicBezTo>
                <a:cubicBezTo>
                  <a:pt x="6031" y="171"/>
                  <a:pt x="6031" y="171"/>
                  <a:pt x="6031" y="171"/>
                </a:cubicBezTo>
                <a:cubicBezTo>
                  <a:pt x="6032" y="171"/>
                  <a:pt x="6032" y="171"/>
                  <a:pt x="6032" y="171"/>
                </a:cubicBezTo>
                <a:cubicBezTo>
                  <a:pt x="6050" y="136"/>
                  <a:pt x="6079" y="119"/>
                  <a:pt x="6118" y="119"/>
                </a:cubicBezTo>
                <a:cubicBezTo>
                  <a:pt x="6145" y="119"/>
                  <a:pt x="6166" y="128"/>
                  <a:pt x="6180" y="146"/>
                </a:cubicBezTo>
                <a:cubicBezTo>
                  <a:pt x="6195" y="164"/>
                  <a:pt x="6202" y="190"/>
                  <a:pt x="6202" y="224"/>
                </a:cubicBezTo>
                <a:cubicBezTo>
                  <a:pt x="6202" y="377"/>
                  <a:pt x="6202" y="377"/>
                  <a:pt x="6202" y="377"/>
                </a:cubicBezTo>
                <a:lnTo>
                  <a:pt x="6179" y="377"/>
                </a:lnTo>
                <a:close/>
                <a:moveTo>
                  <a:pt x="6281" y="252"/>
                </a:moveTo>
                <a:cubicBezTo>
                  <a:pt x="6281" y="286"/>
                  <a:pt x="6289" y="313"/>
                  <a:pt x="6305" y="333"/>
                </a:cubicBezTo>
                <a:cubicBezTo>
                  <a:pt x="6321" y="352"/>
                  <a:pt x="6343" y="362"/>
                  <a:pt x="6371" y="362"/>
                </a:cubicBezTo>
                <a:cubicBezTo>
                  <a:pt x="6399" y="362"/>
                  <a:pt x="6426" y="352"/>
                  <a:pt x="6453" y="331"/>
                </a:cubicBezTo>
                <a:cubicBezTo>
                  <a:pt x="6453" y="355"/>
                  <a:pt x="6453" y="355"/>
                  <a:pt x="6453" y="355"/>
                </a:cubicBezTo>
                <a:cubicBezTo>
                  <a:pt x="6427" y="374"/>
                  <a:pt x="6398" y="383"/>
                  <a:pt x="6366" y="383"/>
                </a:cubicBezTo>
                <a:cubicBezTo>
                  <a:pt x="6334" y="383"/>
                  <a:pt x="6307" y="371"/>
                  <a:pt x="6287" y="348"/>
                </a:cubicBezTo>
                <a:cubicBezTo>
                  <a:pt x="6267" y="325"/>
                  <a:pt x="6258" y="292"/>
                  <a:pt x="6258" y="249"/>
                </a:cubicBezTo>
                <a:cubicBezTo>
                  <a:pt x="6258" y="213"/>
                  <a:pt x="6268" y="182"/>
                  <a:pt x="6289" y="157"/>
                </a:cubicBezTo>
                <a:cubicBezTo>
                  <a:pt x="6310" y="132"/>
                  <a:pt x="6337" y="119"/>
                  <a:pt x="6370" y="119"/>
                </a:cubicBezTo>
                <a:cubicBezTo>
                  <a:pt x="6402" y="119"/>
                  <a:pt x="6426" y="130"/>
                  <a:pt x="6442" y="152"/>
                </a:cubicBezTo>
                <a:cubicBezTo>
                  <a:pt x="6459" y="174"/>
                  <a:pt x="6467" y="204"/>
                  <a:pt x="6467" y="242"/>
                </a:cubicBezTo>
                <a:cubicBezTo>
                  <a:pt x="6467" y="252"/>
                  <a:pt x="6467" y="252"/>
                  <a:pt x="6467" y="252"/>
                </a:cubicBezTo>
                <a:lnTo>
                  <a:pt x="6281" y="252"/>
                </a:lnTo>
                <a:close/>
                <a:moveTo>
                  <a:pt x="6444" y="231"/>
                </a:moveTo>
                <a:cubicBezTo>
                  <a:pt x="6443" y="202"/>
                  <a:pt x="6436" y="180"/>
                  <a:pt x="6423" y="164"/>
                </a:cubicBezTo>
                <a:cubicBezTo>
                  <a:pt x="6410" y="148"/>
                  <a:pt x="6392" y="140"/>
                  <a:pt x="6369" y="140"/>
                </a:cubicBezTo>
                <a:cubicBezTo>
                  <a:pt x="6346" y="140"/>
                  <a:pt x="6326" y="148"/>
                  <a:pt x="6311" y="163"/>
                </a:cubicBezTo>
                <a:cubicBezTo>
                  <a:pt x="6295" y="179"/>
                  <a:pt x="6286" y="202"/>
                  <a:pt x="6282" y="231"/>
                </a:cubicBezTo>
                <a:lnTo>
                  <a:pt x="6444" y="231"/>
                </a:lnTo>
                <a:close/>
                <a:moveTo>
                  <a:pt x="6515" y="366"/>
                </a:moveTo>
                <a:cubicBezTo>
                  <a:pt x="6515" y="338"/>
                  <a:pt x="6515" y="338"/>
                  <a:pt x="6515" y="338"/>
                </a:cubicBezTo>
                <a:cubicBezTo>
                  <a:pt x="6523" y="346"/>
                  <a:pt x="6533" y="352"/>
                  <a:pt x="6546" y="356"/>
                </a:cubicBezTo>
                <a:cubicBezTo>
                  <a:pt x="6558" y="360"/>
                  <a:pt x="6568" y="362"/>
                  <a:pt x="6577" y="362"/>
                </a:cubicBezTo>
                <a:cubicBezTo>
                  <a:pt x="6617" y="362"/>
                  <a:pt x="6636" y="346"/>
                  <a:pt x="6636" y="314"/>
                </a:cubicBezTo>
                <a:cubicBezTo>
                  <a:pt x="6636" y="303"/>
                  <a:pt x="6632" y="293"/>
                  <a:pt x="6623" y="285"/>
                </a:cubicBezTo>
                <a:cubicBezTo>
                  <a:pt x="6615" y="277"/>
                  <a:pt x="6600" y="269"/>
                  <a:pt x="6581" y="261"/>
                </a:cubicBezTo>
                <a:cubicBezTo>
                  <a:pt x="6557" y="251"/>
                  <a:pt x="6540" y="240"/>
                  <a:pt x="6530" y="228"/>
                </a:cubicBezTo>
                <a:cubicBezTo>
                  <a:pt x="6521" y="217"/>
                  <a:pt x="6516" y="204"/>
                  <a:pt x="6516" y="188"/>
                </a:cubicBezTo>
                <a:cubicBezTo>
                  <a:pt x="6516" y="167"/>
                  <a:pt x="6523" y="151"/>
                  <a:pt x="6539" y="138"/>
                </a:cubicBezTo>
                <a:cubicBezTo>
                  <a:pt x="6555" y="125"/>
                  <a:pt x="6574" y="119"/>
                  <a:pt x="6597" y="119"/>
                </a:cubicBezTo>
                <a:cubicBezTo>
                  <a:pt x="6619" y="119"/>
                  <a:pt x="6637" y="123"/>
                  <a:pt x="6652" y="132"/>
                </a:cubicBezTo>
                <a:cubicBezTo>
                  <a:pt x="6652" y="158"/>
                  <a:pt x="6652" y="158"/>
                  <a:pt x="6652" y="158"/>
                </a:cubicBezTo>
                <a:cubicBezTo>
                  <a:pt x="6634" y="146"/>
                  <a:pt x="6614" y="140"/>
                  <a:pt x="6595" y="140"/>
                </a:cubicBezTo>
                <a:cubicBezTo>
                  <a:pt x="6578" y="140"/>
                  <a:pt x="6565" y="144"/>
                  <a:pt x="6554" y="153"/>
                </a:cubicBezTo>
                <a:cubicBezTo>
                  <a:pt x="6544" y="161"/>
                  <a:pt x="6539" y="172"/>
                  <a:pt x="6539" y="186"/>
                </a:cubicBezTo>
                <a:cubicBezTo>
                  <a:pt x="6539" y="198"/>
                  <a:pt x="6542" y="208"/>
                  <a:pt x="6549" y="215"/>
                </a:cubicBezTo>
                <a:cubicBezTo>
                  <a:pt x="6555" y="223"/>
                  <a:pt x="6569" y="231"/>
                  <a:pt x="6591" y="241"/>
                </a:cubicBezTo>
                <a:cubicBezTo>
                  <a:pt x="6617" y="253"/>
                  <a:pt x="6635" y="264"/>
                  <a:pt x="6645" y="274"/>
                </a:cubicBezTo>
                <a:cubicBezTo>
                  <a:pt x="6655" y="284"/>
                  <a:pt x="6660" y="297"/>
                  <a:pt x="6660" y="314"/>
                </a:cubicBezTo>
                <a:cubicBezTo>
                  <a:pt x="6660" y="334"/>
                  <a:pt x="6652" y="350"/>
                  <a:pt x="6637" y="363"/>
                </a:cubicBezTo>
                <a:cubicBezTo>
                  <a:pt x="6622" y="376"/>
                  <a:pt x="6602" y="383"/>
                  <a:pt x="6575" y="383"/>
                </a:cubicBezTo>
                <a:cubicBezTo>
                  <a:pt x="6551" y="383"/>
                  <a:pt x="6531" y="377"/>
                  <a:pt x="6515" y="366"/>
                </a:cubicBezTo>
                <a:close/>
                <a:moveTo>
                  <a:pt x="6708" y="366"/>
                </a:moveTo>
                <a:cubicBezTo>
                  <a:pt x="6708" y="338"/>
                  <a:pt x="6708" y="338"/>
                  <a:pt x="6708" y="338"/>
                </a:cubicBezTo>
                <a:cubicBezTo>
                  <a:pt x="6716" y="346"/>
                  <a:pt x="6727" y="352"/>
                  <a:pt x="6739" y="356"/>
                </a:cubicBezTo>
                <a:cubicBezTo>
                  <a:pt x="6751" y="360"/>
                  <a:pt x="6761" y="362"/>
                  <a:pt x="6770" y="362"/>
                </a:cubicBezTo>
                <a:cubicBezTo>
                  <a:pt x="6810" y="362"/>
                  <a:pt x="6830" y="346"/>
                  <a:pt x="6830" y="314"/>
                </a:cubicBezTo>
                <a:cubicBezTo>
                  <a:pt x="6830" y="303"/>
                  <a:pt x="6825" y="293"/>
                  <a:pt x="6817" y="285"/>
                </a:cubicBezTo>
                <a:cubicBezTo>
                  <a:pt x="6808" y="277"/>
                  <a:pt x="6794" y="269"/>
                  <a:pt x="6774" y="261"/>
                </a:cubicBezTo>
                <a:cubicBezTo>
                  <a:pt x="6750" y="251"/>
                  <a:pt x="6733" y="240"/>
                  <a:pt x="6724" y="228"/>
                </a:cubicBezTo>
                <a:cubicBezTo>
                  <a:pt x="6714" y="217"/>
                  <a:pt x="6709" y="204"/>
                  <a:pt x="6709" y="188"/>
                </a:cubicBezTo>
                <a:cubicBezTo>
                  <a:pt x="6709" y="167"/>
                  <a:pt x="6717" y="151"/>
                  <a:pt x="6732" y="138"/>
                </a:cubicBezTo>
                <a:cubicBezTo>
                  <a:pt x="6748" y="125"/>
                  <a:pt x="6767" y="119"/>
                  <a:pt x="6790" y="119"/>
                </a:cubicBezTo>
                <a:cubicBezTo>
                  <a:pt x="6812" y="119"/>
                  <a:pt x="6830" y="123"/>
                  <a:pt x="6846" y="132"/>
                </a:cubicBezTo>
                <a:cubicBezTo>
                  <a:pt x="6846" y="158"/>
                  <a:pt x="6846" y="158"/>
                  <a:pt x="6846" y="158"/>
                </a:cubicBezTo>
                <a:cubicBezTo>
                  <a:pt x="6827" y="146"/>
                  <a:pt x="6808" y="140"/>
                  <a:pt x="6788" y="140"/>
                </a:cubicBezTo>
                <a:cubicBezTo>
                  <a:pt x="6771" y="140"/>
                  <a:pt x="6758" y="144"/>
                  <a:pt x="6748" y="153"/>
                </a:cubicBezTo>
                <a:cubicBezTo>
                  <a:pt x="6738" y="161"/>
                  <a:pt x="6733" y="172"/>
                  <a:pt x="6733" y="186"/>
                </a:cubicBezTo>
                <a:cubicBezTo>
                  <a:pt x="6733" y="198"/>
                  <a:pt x="6736" y="208"/>
                  <a:pt x="6742" y="215"/>
                </a:cubicBezTo>
                <a:cubicBezTo>
                  <a:pt x="6748" y="223"/>
                  <a:pt x="6763" y="231"/>
                  <a:pt x="6784" y="241"/>
                </a:cubicBezTo>
                <a:cubicBezTo>
                  <a:pt x="6811" y="253"/>
                  <a:pt x="6829" y="264"/>
                  <a:pt x="6838" y="274"/>
                </a:cubicBezTo>
                <a:cubicBezTo>
                  <a:pt x="6848" y="284"/>
                  <a:pt x="6853" y="297"/>
                  <a:pt x="6853" y="314"/>
                </a:cubicBezTo>
                <a:cubicBezTo>
                  <a:pt x="6853" y="334"/>
                  <a:pt x="6846" y="350"/>
                  <a:pt x="6831" y="363"/>
                </a:cubicBezTo>
                <a:cubicBezTo>
                  <a:pt x="6816" y="376"/>
                  <a:pt x="6795" y="383"/>
                  <a:pt x="6769" y="383"/>
                </a:cubicBezTo>
                <a:cubicBezTo>
                  <a:pt x="6744" y="383"/>
                  <a:pt x="6724" y="377"/>
                  <a:pt x="6708" y="366"/>
                </a:cubicBezTo>
                <a:close/>
                <a:moveTo>
                  <a:pt x="3745" y="272"/>
                </a:moveTo>
                <a:cubicBezTo>
                  <a:pt x="3745" y="298"/>
                  <a:pt x="3737" y="319"/>
                  <a:pt x="3720" y="337"/>
                </a:cubicBezTo>
                <a:cubicBezTo>
                  <a:pt x="3704" y="354"/>
                  <a:pt x="3683" y="362"/>
                  <a:pt x="3657" y="362"/>
                </a:cubicBezTo>
                <a:cubicBezTo>
                  <a:pt x="3631" y="362"/>
                  <a:pt x="3611" y="352"/>
                  <a:pt x="3596" y="333"/>
                </a:cubicBezTo>
                <a:cubicBezTo>
                  <a:pt x="3581" y="313"/>
                  <a:pt x="3573" y="287"/>
                  <a:pt x="3573" y="253"/>
                </a:cubicBezTo>
                <a:cubicBezTo>
                  <a:pt x="3573" y="219"/>
                  <a:pt x="3582" y="192"/>
                  <a:pt x="3598" y="171"/>
                </a:cubicBezTo>
                <a:cubicBezTo>
                  <a:pt x="3615" y="150"/>
                  <a:pt x="3637" y="140"/>
                  <a:pt x="3665" y="140"/>
                </a:cubicBezTo>
                <a:cubicBezTo>
                  <a:pt x="3688" y="140"/>
                  <a:pt x="3707" y="148"/>
                  <a:pt x="3722" y="163"/>
                </a:cubicBezTo>
                <a:cubicBezTo>
                  <a:pt x="3737" y="179"/>
                  <a:pt x="3745" y="199"/>
                  <a:pt x="3745" y="222"/>
                </a:cubicBezTo>
                <a:cubicBezTo>
                  <a:pt x="3745" y="272"/>
                  <a:pt x="3745" y="272"/>
                  <a:pt x="3745" y="272"/>
                </a:cubicBezTo>
                <a:cubicBezTo>
                  <a:pt x="3745" y="272"/>
                  <a:pt x="3745" y="272"/>
                  <a:pt x="3745" y="272"/>
                </a:cubicBezTo>
                <a:close/>
                <a:moveTo>
                  <a:pt x="3767" y="125"/>
                </a:moveTo>
                <a:cubicBezTo>
                  <a:pt x="3745" y="125"/>
                  <a:pt x="3745" y="125"/>
                  <a:pt x="3745" y="125"/>
                </a:cubicBezTo>
                <a:cubicBezTo>
                  <a:pt x="3745" y="165"/>
                  <a:pt x="3745" y="165"/>
                  <a:pt x="3745" y="165"/>
                </a:cubicBezTo>
                <a:cubicBezTo>
                  <a:pt x="3744" y="165"/>
                  <a:pt x="3744" y="165"/>
                  <a:pt x="3744" y="165"/>
                </a:cubicBezTo>
                <a:cubicBezTo>
                  <a:pt x="3728" y="134"/>
                  <a:pt x="3701" y="119"/>
                  <a:pt x="3664" y="119"/>
                </a:cubicBezTo>
                <a:cubicBezTo>
                  <a:pt x="3642" y="119"/>
                  <a:pt x="3622" y="125"/>
                  <a:pt x="3605" y="136"/>
                </a:cubicBezTo>
                <a:cubicBezTo>
                  <a:pt x="3587" y="148"/>
                  <a:pt x="3574" y="164"/>
                  <a:pt x="3564" y="185"/>
                </a:cubicBezTo>
                <a:cubicBezTo>
                  <a:pt x="3555" y="206"/>
                  <a:pt x="3550" y="229"/>
                  <a:pt x="3550" y="255"/>
                </a:cubicBezTo>
                <a:cubicBezTo>
                  <a:pt x="3550" y="294"/>
                  <a:pt x="3560" y="325"/>
                  <a:pt x="3578" y="348"/>
                </a:cubicBezTo>
                <a:cubicBezTo>
                  <a:pt x="3597" y="371"/>
                  <a:pt x="3623" y="383"/>
                  <a:pt x="3654" y="383"/>
                </a:cubicBezTo>
                <a:cubicBezTo>
                  <a:pt x="3694" y="383"/>
                  <a:pt x="3724" y="366"/>
                  <a:pt x="3744" y="331"/>
                </a:cubicBezTo>
                <a:cubicBezTo>
                  <a:pt x="3745" y="331"/>
                  <a:pt x="3745" y="331"/>
                  <a:pt x="3745" y="331"/>
                </a:cubicBezTo>
                <a:cubicBezTo>
                  <a:pt x="3745" y="364"/>
                  <a:pt x="3745" y="364"/>
                  <a:pt x="3745" y="364"/>
                </a:cubicBezTo>
                <a:cubicBezTo>
                  <a:pt x="3745" y="438"/>
                  <a:pt x="3711" y="474"/>
                  <a:pt x="3642" y="474"/>
                </a:cubicBezTo>
                <a:cubicBezTo>
                  <a:pt x="3618" y="474"/>
                  <a:pt x="3593" y="467"/>
                  <a:pt x="3567" y="452"/>
                </a:cubicBezTo>
                <a:cubicBezTo>
                  <a:pt x="3567" y="476"/>
                  <a:pt x="3567" y="476"/>
                  <a:pt x="3567" y="476"/>
                </a:cubicBezTo>
                <a:cubicBezTo>
                  <a:pt x="3593" y="488"/>
                  <a:pt x="3617" y="495"/>
                  <a:pt x="3641" y="495"/>
                </a:cubicBezTo>
                <a:cubicBezTo>
                  <a:pt x="3685" y="495"/>
                  <a:pt x="3717" y="484"/>
                  <a:pt x="3737" y="462"/>
                </a:cubicBezTo>
                <a:cubicBezTo>
                  <a:pt x="3757" y="440"/>
                  <a:pt x="3767" y="405"/>
                  <a:pt x="3767" y="358"/>
                </a:cubicBezTo>
                <a:cubicBezTo>
                  <a:pt x="3767" y="125"/>
                  <a:pt x="3767" y="125"/>
                  <a:pt x="3767" y="125"/>
                </a:cubicBezTo>
                <a:cubicBezTo>
                  <a:pt x="3767" y="125"/>
                  <a:pt x="3767" y="125"/>
                  <a:pt x="3767" y="125"/>
                </a:cubicBezTo>
                <a:close/>
                <a:moveTo>
                  <a:pt x="3493" y="377"/>
                </a:moveTo>
                <a:cubicBezTo>
                  <a:pt x="3493" y="224"/>
                  <a:pt x="3493" y="224"/>
                  <a:pt x="3493" y="224"/>
                </a:cubicBezTo>
                <a:cubicBezTo>
                  <a:pt x="3493" y="190"/>
                  <a:pt x="3486" y="164"/>
                  <a:pt x="3472" y="146"/>
                </a:cubicBezTo>
                <a:cubicBezTo>
                  <a:pt x="3458" y="128"/>
                  <a:pt x="3437" y="119"/>
                  <a:pt x="3410" y="119"/>
                </a:cubicBezTo>
                <a:cubicBezTo>
                  <a:pt x="3371" y="119"/>
                  <a:pt x="3343" y="136"/>
                  <a:pt x="3325" y="171"/>
                </a:cubicBezTo>
                <a:cubicBezTo>
                  <a:pt x="3324" y="171"/>
                  <a:pt x="3324" y="171"/>
                  <a:pt x="3324" y="171"/>
                </a:cubicBezTo>
                <a:cubicBezTo>
                  <a:pt x="3324" y="125"/>
                  <a:pt x="3324" y="125"/>
                  <a:pt x="3324" y="125"/>
                </a:cubicBezTo>
                <a:cubicBezTo>
                  <a:pt x="3301" y="125"/>
                  <a:pt x="3301" y="125"/>
                  <a:pt x="3301" y="125"/>
                </a:cubicBezTo>
                <a:cubicBezTo>
                  <a:pt x="3301" y="377"/>
                  <a:pt x="3301" y="377"/>
                  <a:pt x="3301" y="377"/>
                </a:cubicBezTo>
                <a:cubicBezTo>
                  <a:pt x="3324" y="377"/>
                  <a:pt x="3324" y="377"/>
                  <a:pt x="3324" y="377"/>
                </a:cubicBezTo>
                <a:cubicBezTo>
                  <a:pt x="3324" y="232"/>
                  <a:pt x="3324" y="232"/>
                  <a:pt x="3324" y="232"/>
                </a:cubicBezTo>
                <a:cubicBezTo>
                  <a:pt x="3324" y="206"/>
                  <a:pt x="3331" y="184"/>
                  <a:pt x="3347" y="166"/>
                </a:cubicBezTo>
                <a:cubicBezTo>
                  <a:pt x="3363" y="149"/>
                  <a:pt x="3382" y="140"/>
                  <a:pt x="3406" y="140"/>
                </a:cubicBezTo>
                <a:cubicBezTo>
                  <a:pt x="3449" y="140"/>
                  <a:pt x="3471" y="170"/>
                  <a:pt x="3471" y="230"/>
                </a:cubicBezTo>
                <a:cubicBezTo>
                  <a:pt x="3471" y="377"/>
                  <a:pt x="3471" y="377"/>
                  <a:pt x="3471" y="377"/>
                </a:cubicBezTo>
                <a:cubicBezTo>
                  <a:pt x="3493" y="377"/>
                  <a:pt x="3493" y="377"/>
                  <a:pt x="3493" y="377"/>
                </a:cubicBezTo>
                <a:cubicBezTo>
                  <a:pt x="3493" y="377"/>
                  <a:pt x="3493" y="377"/>
                  <a:pt x="3493" y="377"/>
                </a:cubicBezTo>
                <a:close/>
                <a:moveTo>
                  <a:pt x="3221" y="125"/>
                </a:moveTo>
                <a:cubicBezTo>
                  <a:pt x="3199" y="125"/>
                  <a:pt x="3199" y="125"/>
                  <a:pt x="3199" y="125"/>
                </a:cubicBezTo>
                <a:cubicBezTo>
                  <a:pt x="3199" y="377"/>
                  <a:pt x="3199" y="377"/>
                  <a:pt x="3199" y="377"/>
                </a:cubicBezTo>
                <a:cubicBezTo>
                  <a:pt x="3221" y="377"/>
                  <a:pt x="3221" y="377"/>
                  <a:pt x="3221" y="377"/>
                </a:cubicBezTo>
                <a:cubicBezTo>
                  <a:pt x="3221" y="125"/>
                  <a:pt x="3221" y="125"/>
                  <a:pt x="3221" y="125"/>
                </a:cubicBezTo>
                <a:cubicBezTo>
                  <a:pt x="3221" y="125"/>
                  <a:pt x="3221" y="125"/>
                  <a:pt x="3221" y="125"/>
                </a:cubicBezTo>
                <a:close/>
                <a:moveTo>
                  <a:pt x="3223" y="56"/>
                </a:moveTo>
                <a:cubicBezTo>
                  <a:pt x="3227" y="52"/>
                  <a:pt x="3229" y="48"/>
                  <a:pt x="3229" y="43"/>
                </a:cubicBezTo>
                <a:cubicBezTo>
                  <a:pt x="3229" y="37"/>
                  <a:pt x="3227" y="33"/>
                  <a:pt x="3223" y="29"/>
                </a:cubicBezTo>
                <a:cubicBezTo>
                  <a:pt x="3219" y="26"/>
                  <a:pt x="3215" y="24"/>
                  <a:pt x="3210" y="24"/>
                </a:cubicBezTo>
                <a:cubicBezTo>
                  <a:pt x="3205" y="24"/>
                  <a:pt x="3201" y="26"/>
                  <a:pt x="3197" y="29"/>
                </a:cubicBezTo>
                <a:cubicBezTo>
                  <a:pt x="3193" y="33"/>
                  <a:pt x="3191" y="37"/>
                  <a:pt x="3191" y="43"/>
                </a:cubicBezTo>
                <a:cubicBezTo>
                  <a:pt x="3191" y="48"/>
                  <a:pt x="3193" y="53"/>
                  <a:pt x="3197" y="56"/>
                </a:cubicBezTo>
                <a:cubicBezTo>
                  <a:pt x="3201" y="60"/>
                  <a:pt x="3205" y="62"/>
                  <a:pt x="3210" y="62"/>
                </a:cubicBezTo>
                <a:cubicBezTo>
                  <a:pt x="3215" y="62"/>
                  <a:pt x="3220" y="60"/>
                  <a:pt x="3223" y="56"/>
                </a:cubicBezTo>
                <a:moveTo>
                  <a:pt x="3124" y="377"/>
                </a:moveTo>
                <a:cubicBezTo>
                  <a:pt x="3124" y="224"/>
                  <a:pt x="3124" y="224"/>
                  <a:pt x="3124" y="224"/>
                </a:cubicBezTo>
                <a:cubicBezTo>
                  <a:pt x="3124" y="190"/>
                  <a:pt x="3117" y="164"/>
                  <a:pt x="3103" y="146"/>
                </a:cubicBezTo>
                <a:cubicBezTo>
                  <a:pt x="3089" y="128"/>
                  <a:pt x="3068" y="119"/>
                  <a:pt x="3041" y="119"/>
                </a:cubicBezTo>
                <a:cubicBezTo>
                  <a:pt x="3002" y="119"/>
                  <a:pt x="2974" y="136"/>
                  <a:pt x="2956" y="171"/>
                </a:cubicBezTo>
                <a:cubicBezTo>
                  <a:pt x="2955" y="171"/>
                  <a:pt x="2955" y="171"/>
                  <a:pt x="2955" y="171"/>
                </a:cubicBezTo>
                <a:cubicBezTo>
                  <a:pt x="2955" y="125"/>
                  <a:pt x="2955" y="125"/>
                  <a:pt x="2955" y="125"/>
                </a:cubicBezTo>
                <a:cubicBezTo>
                  <a:pt x="2932" y="125"/>
                  <a:pt x="2932" y="125"/>
                  <a:pt x="2932" y="125"/>
                </a:cubicBezTo>
                <a:cubicBezTo>
                  <a:pt x="2932" y="377"/>
                  <a:pt x="2932" y="377"/>
                  <a:pt x="2932" y="377"/>
                </a:cubicBezTo>
                <a:cubicBezTo>
                  <a:pt x="2955" y="377"/>
                  <a:pt x="2955" y="377"/>
                  <a:pt x="2955" y="377"/>
                </a:cubicBezTo>
                <a:cubicBezTo>
                  <a:pt x="2955" y="232"/>
                  <a:pt x="2955" y="232"/>
                  <a:pt x="2955" y="232"/>
                </a:cubicBezTo>
                <a:cubicBezTo>
                  <a:pt x="2955" y="206"/>
                  <a:pt x="2962" y="184"/>
                  <a:pt x="2978" y="166"/>
                </a:cubicBezTo>
                <a:cubicBezTo>
                  <a:pt x="2994" y="149"/>
                  <a:pt x="3013" y="140"/>
                  <a:pt x="3037" y="140"/>
                </a:cubicBezTo>
                <a:cubicBezTo>
                  <a:pt x="3080" y="140"/>
                  <a:pt x="3102" y="170"/>
                  <a:pt x="3102" y="230"/>
                </a:cubicBezTo>
                <a:cubicBezTo>
                  <a:pt x="3102" y="377"/>
                  <a:pt x="3102" y="377"/>
                  <a:pt x="3102" y="377"/>
                </a:cubicBezTo>
                <a:cubicBezTo>
                  <a:pt x="3124" y="377"/>
                  <a:pt x="3124" y="377"/>
                  <a:pt x="3124" y="377"/>
                </a:cubicBezTo>
                <a:cubicBezTo>
                  <a:pt x="3124" y="377"/>
                  <a:pt x="3124" y="377"/>
                  <a:pt x="3124" y="377"/>
                </a:cubicBezTo>
                <a:close/>
                <a:moveTo>
                  <a:pt x="2887" y="125"/>
                </a:moveTo>
                <a:cubicBezTo>
                  <a:pt x="2879" y="122"/>
                  <a:pt x="2871" y="120"/>
                  <a:pt x="2862" y="120"/>
                </a:cubicBezTo>
                <a:cubicBezTo>
                  <a:pt x="2846" y="120"/>
                  <a:pt x="2831" y="126"/>
                  <a:pt x="2819" y="136"/>
                </a:cubicBezTo>
                <a:cubicBezTo>
                  <a:pt x="2807" y="147"/>
                  <a:pt x="2798" y="162"/>
                  <a:pt x="2792" y="181"/>
                </a:cubicBezTo>
                <a:cubicBezTo>
                  <a:pt x="2791" y="181"/>
                  <a:pt x="2791" y="181"/>
                  <a:pt x="2791" y="181"/>
                </a:cubicBezTo>
                <a:cubicBezTo>
                  <a:pt x="2791" y="125"/>
                  <a:pt x="2791" y="125"/>
                  <a:pt x="2791" y="125"/>
                </a:cubicBezTo>
                <a:cubicBezTo>
                  <a:pt x="2769" y="125"/>
                  <a:pt x="2769" y="125"/>
                  <a:pt x="2769" y="125"/>
                </a:cubicBezTo>
                <a:cubicBezTo>
                  <a:pt x="2769" y="377"/>
                  <a:pt x="2769" y="377"/>
                  <a:pt x="2769" y="377"/>
                </a:cubicBezTo>
                <a:cubicBezTo>
                  <a:pt x="2791" y="377"/>
                  <a:pt x="2791" y="377"/>
                  <a:pt x="2791" y="377"/>
                </a:cubicBezTo>
                <a:cubicBezTo>
                  <a:pt x="2791" y="259"/>
                  <a:pt x="2791" y="259"/>
                  <a:pt x="2791" y="259"/>
                </a:cubicBezTo>
                <a:cubicBezTo>
                  <a:pt x="2791" y="235"/>
                  <a:pt x="2794" y="214"/>
                  <a:pt x="2800" y="196"/>
                </a:cubicBezTo>
                <a:cubicBezTo>
                  <a:pt x="2806" y="178"/>
                  <a:pt x="2814" y="164"/>
                  <a:pt x="2825" y="155"/>
                </a:cubicBezTo>
                <a:cubicBezTo>
                  <a:pt x="2835" y="145"/>
                  <a:pt x="2847" y="141"/>
                  <a:pt x="2860" y="141"/>
                </a:cubicBezTo>
                <a:cubicBezTo>
                  <a:pt x="2870" y="141"/>
                  <a:pt x="2879" y="143"/>
                  <a:pt x="2887" y="149"/>
                </a:cubicBezTo>
                <a:cubicBezTo>
                  <a:pt x="2887" y="125"/>
                  <a:pt x="2887" y="125"/>
                  <a:pt x="2887" y="125"/>
                </a:cubicBezTo>
                <a:cubicBezTo>
                  <a:pt x="2887" y="125"/>
                  <a:pt x="2887" y="125"/>
                  <a:pt x="2887" y="125"/>
                </a:cubicBezTo>
                <a:close/>
                <a:moveTo>
                  <a:pt x="2547" y="271"/>
                </a:moveTo>
                <a:cubicBezTo>
                  <a:pt x="2557" y="262"/>
                  <a:pt x="2575" y="256"/>
                  <a:pt x="2603" y="251"/>
                </a:cubicBezTo>
                <a:cubicBezTo>
                  <a:pt x="2672" y="241"/>
                  <a:pt x="2672" y="241"/>
                  <a:pt x="2672" y="241"/>
                </a:cubicBezTo>
                <a:cubicBezTo>
                  <a:pt x="2672" y="266"/>
                  <a:pt x="2672" y="266"/>
                  <a:pt x="2672" y="266"/>
                </a:cubicBezTo>
                <a:cubicBezTo>
                  <a:pt x="2672" y="294"/>
                  <a:pt x="2664" y="317"/>
                  <a:pt x="2648" y="335"/>
                </a:cubicBezTo>
                <a:cubicBezTo>
                  <a:pt x="2632" y="353"/>
                  <a:pt x="2612" y="362"/>
                  <a:pt x="2588" y="362"/>
                </a:cubicBezTo>
                <a:cubicBezTo>
                  <a:pt x="2571" y="362"/>
                  <a:pt x="2557" y="357"/>
                  <a:pt x="2547" y="348"/>
                </a:cubicBezTo>
                <a:cubicBezTo>
                  <a:pt x="2537" y="339"/>
                  <a:pt x="2532" y="327"/>
                  <a:pt x="2532" y="311"/>
                </a:cubicBezTo>
                <a:cubicBezTo>
                  <a:pt x="2532" y="293"/>
                  <a:pt x="2537" y="279"/>
                  <a:pt x="2547" y="271"/>
                </a:cubicBezTo>
                <a:moveTo>
                  <a:pt x="2694" y="377"/>
                </a:moveTo>
                <a:cubicBezTo>
                  <a:pt x="2694" y="213"/>
                  <a:pt x="2694" y="213"/>
                  <a:pt x="2694" y="213"/>
                </a:cubicBezTo>
                <a:cubicBezTo>
                  <a:pt x="2694" y="182"/>
                  <a:pt x="2687" y="159"/>
                  <a:pt x="2673" y="143"/>
                </a:cubicBezTo>
                <a:cubicBezTo>
                  <a:pt x="2659" y="127"/>
                  <a:pt x="2639" y="119"/>
                  <a:pt x="2613" y="119"/>
                </a:cubicBezTo>
                <a:cubicBezTo>
                  <a:pt x="2600" y="119"/>
                  <a:pt x="2586" y="122"/>
                  <a:pt x="2569" y="127"/>
                </a:cubicBezTo>
                <a:cubicBezTo>
                  <a:pt x="2553" y="132"/>
                  <a:pt x="2540" y="139"/>
                  <a:pt x="2531" y="146"/>
                </a:cubicBezTo>
                <a:cubicBezTo>
                  <a:pt x="2531" y="173"/>
                  <a:pt x="2531" y="173"/>
                  <a:pt x="2531" y="173"/>
                </a:cubicBezTo>
                <a:cubicBezTo>
                  <a:pt x="2557" y="151"/>
                  <a:pt x="2584" y="140"/>
                  <a:pt x="2611" y="140"/>
                </a:cubicBezTo>
                <a:cubicBezTo>
                  <a:pt x="2652" y="140"/>
                  <a:pt x="2672" y="167"/>
                  <a:pt x="2672" y="221"/>
                </a:cubicBezTo>
                <a:cubicBezTo>
                  <a:pt x="2595" y="232"/>
                  <a:pt x="2595" y="232"/>
                  <a:pt x="2595" y="232"/>
                </a:cubicBezTo>
                <a:cubicBezTo>
                  <a:pt x="2537" y="241"/>
                  <a:pt x="2509" y="268"/>
                  <a:pt x="2509" y="312"/>
                </a:cubicBezTo>
                <a:cubicBezTo>
                  <a:pt x="2509" y="333"/>
                  <a:pt x="2516" y="350"/>
                  <a:pt x="2530" y="363"/>
                </a:cubicBezTo>
                <a:cubicBezTo>
                  <a:pt x="2544" y="376"/>
                  <a:pt x="2563" y="383"/>
                  <a:pt x="2585" y="383"/>
                </a:cubicBezTo>
                <a:cubicBezTo>
                  <a:pt x="2604" y="383"/>
                  <a:pt x="2620" y="378"/>
                  <a:pt x="2636" y="367"/>
                </a:cubicBezTo>
                <a:cubicBezTo>
                  <a:pt x="2651" y="357"/>
                  <a:pt x="2663" y="343"/>
                  <a:pt x="2671" y="326"/>
                </a:cubicBezTo>
                <a:cubicBezTo>
                  <a:pt x="2672" y="326"/>
                  <a:pt x="2672" y="326"/>
                  <a:pt x="2672" y="326"/>
                </a:cubicBezTo>
                <a:cubicBezTo>
                  <a:pt x="2672" y="377"/>
                  <a:pt x="2672" y="377"/>
                  <a:pt x="2672" y="377"/>
                </a:cubicBezTo>
                <a:cubicBezTo>
                  <a:pt x="2694" y="377"/>
                  <a:pt x="2694" y="377"/>
                  <a:pt x="2694" y="377"/>
                </a:cubicBezTo>
                <a:cubicBezTo>
                  <a:pt x="2694" y="377"/>
                  <a:pt x="2694" y="377"/>
                  <a:pt x="2694" y="377"/>
                </a:cubicBezTo>
                <a:close/>
                <a:moveTo>
                  <a:pt x="2277" y="231"/>
                </a:moveTo>
                <a:cubicBezTo>
                  <a:pt x="2281" y="202"/>
                  <a:pt x="2290" y="179"/>
                  <a:pt x="2306" y="163"/>
                </a:cubicBezTo>
                <a:cubicBezTo>
                  <a:pt x="2321" y="148"/>
                  <a:pt x="2340" y="140"/>
                  <a:pt x="2364" y="140"/>
                </a:cubicBezTo>
                <a:cubicBezTo>
                  <a:pt x="2386" y="140"/>
                  <a:pt x="2404" y="148"/>
                  <a:pt x="2417" y="163"/>
                </a:cubicBezTo>
                <a:cubicBezTo>
                  <a:pt x="2430" y="180"/>
                  <a:pt x="2437" y="202"/>
                  <a:pt x="2438" y="231"/>
                </a:cubicBezTo>
                <a:cubicBezTo>
                  <a:pt x="2277" y="231"/>
                  <a:pt x="2277" y="231"/>
                  <a:pt x="2277" y="231"/>
                </a:cubicBezTo>
                <a:cubicBezTo>
                  <a:pt x="2277" y="231"/>
                  <a:pt x="2277" y="231"/>
                  <a:pt x="2277" y="231"/>
                </a:cubicBezTo>
                <a:close/>
                <a:moveTo>
                  <a:pt x="2461" y="252"/>
                </a:moveTo>
                <a:cubicBezTo>
                  <a:pt x="2461" y="242"/>
                  <a:pt x="2461" y="242"/>
                  <a:pt x="2461" y="242"/>
                </a:cubicBezTo>
                <a:cubicBezTo>
                  <a:pt x="2461" y="203"/>
                  <a:pt x="2452" y="173"/>
                  <a:pt x="2436" y="151"/>
                </a:cubicBezTo>
                <a:cubicBezTo>
                  <a:pt x="2419" y="130"/>
                  <a:pt x="2395" y="119"/>
                  <a:pt x="2365" y="119"/>
                </a:cubicBezTo>
                <a:cubicBezTo>
                  <a:pt x="2344" y="119"/>
                  <a:pt x="2325" y="125"/>
                  <a:pt x="2308" y="136"/>
                </a:cubicBezTo>
                <a:cubicBezTo>
                  <a:pt x="2291" y="147"/>
                  <a:pt x="2277" y="163"/>
                  <a:pt x="2267" y="183"/>
                </a:cubicBezTo>
                <a:cubicBezTo>
                  <a:pt x="2258" y="203"/>
                  <a:pt x="2253" y="225"/>
                  <a:pt x="2253" y="249"/>
                </a:cubicBezTo>
                <a:cubicBezTo>
                  <a:pt x="2253" y="291"/>
                  <a:pt x="2263" y="323"/>
                  <a:pt x="2282" y="347"/>
                </a:cubicBezTo>
                <a:cubicBezTo>
                  <a:pt x="2302" y="371"/>
                  <a:pt x="2328" y="383"/>
                  <a:pt x="2361" y="383"/>
                </a:cubicBezTo>
                <a:cubicBezTo>
                  <a:pt x="2392" y="383"/>
                  <a:pt x="2421" y="374"/>
                  <a:pt x="2447" y="355"/>
                </a:cubicBezTo>
                <a:cubicBezTo>
                  <a:pt x="2447" y="331"/>
                  <a:pt x="2447" y="331"/>
                  <a:pt x="2447" y="331"/>
                </a:cubicBezTo>
                <a:cubicBezTo>
                  <a:pt x="2420" y="352"/>
                  <a:pt x="2393" y="362"/>
                  <a:pt x="2365" y="362"/>
                </a:cubicBezTo>
                <a:cubicBezTo>
                  <a:pt x="2338" y="362"/>
                  <a:pt x="2316" y="352"/>
                  <a:pt x="2300" y="333"/>
                </a:cubicBezTo>
                <a:cubicBezTo>
                  <a:pt x="2284" y="314"/>
                  <a:pt x="2276" y="287"/>
                  <a:pt x="2276" y="252"/>
                </a:cubicBezTo>
                <a:cubicBezTo>
                  <a:pt x="2461" y="252"/>
                  <a:pt x="2461" y="252"/>
                  <a:pt x="2461" y="252"/>
                </a:cubicBezTo>
                <a:cubicBezTo>
                  <a:pt x="2461" y="252"/>
                  <a:pt x="2461" y="252"/>
                  <a:pt x="2461" y="252"/>
                </a:cubicBezTo>
                <a:close/>
                <a:moveTo>
                  <a:pt x="2212" y="377"/>
                </a:moveTo>
                <a:cubicBezTo>
                  <a:pt x="2212" y="355"/>
                  <a:pt x="2212" y="355"/>
                  <a:pt x="2212" y="355"/>
                </a:cubicBezTo>
                <a:cubicBezTo>
                  <a:pt x="2072" y="355"/>
                  <a:pt x="2072" y="355"/>
                  <a:pt x="2072" y="355"/>
                </a:cubicBezTo>
                <a:cubicBezTo>
                  <a:pt x="2072" y="24"/>
                  <a:pt x="2072" y="24"/>
                  <a:pt x="2072" y="24"/>
                </a:cubicBezTo>
                <a:cubicBezTo>
                  <a:pt x="2047" y="24"/>
                  <a:pt x="2047" y="24"/>
                  <a:pt x="2047" y="24"/>
                </a:cubicBezTo>
                <a:cubicBezTo>
                  <a:pt x="2047" y="377"/>
                  <a:pt x="2047" y="377"/>
                  <a:pt x="2047" y="377"/>
                </a:cubicBezTo>
                <a:cubicBezTo>
                  <a:pt x="2212" y="377"/>
                  <a:pt x="2212" y="377"/>
                  <a:pt x="2212" y="377"/>
                </a:cubicBezTo>
                <a:cubicBezTo>
                  <a:pt x="2212" y="377"/>
                  <a:pt x="2212" y="377"/>
                  <a:pt x="2212" y="377"/>
                </a:cubicBezTo>
                <a:close/>
                <a:moveTo>
                  <a:pt x="1877" y="352"/>
                </a:moveTo>
                <a:cubicBezTo>
                  <a:pt x="1867" y="358"/>
                  <a:pt x="1857" y="361"/>
                  <a:pt x="1847" y="361"/>
                </a:cubicBezTo>
                <a:cubicBezTo>
                  <a:pt x="1834" y="361"/>
                  <a:pt x="1825" y="357"/>
                  <a:pt x="1820" y="350"/>
                </a:cubicBezTo>
                <a:cubicBezTo>
                  <a:pt x="1814" y="342"/>
                  <a:pt x="1811" y="329"/>
                  <a:pt x="1811" y="312"/>
                </a:cubicBezTo>
                <a:cubicBezTo>
                  <a:pt x="1811" y="146"/>
                  <a:pt x="1811" y="146"/>
                  <a:pt x="1811" y="146"/>
                </a:cubicBezTo>
                <a:cubicBezTo>
                  <a:pt x="1877" y="146"/>
                  <a:pt x="1877" y="146"/>
                  <a:pt x="1877" y="146"/>
                </a:cubicBezTo>
                <a:cubicBezTo>
                  <a:pt x="1877" y="125"/>
                  <a:pt x="1877" y="125"/>
                  <a:pt x="1877" y="125"/>
                </a:cubicBezTo>
                <a:cubicBezTo>
                  <a:pt x="1811" y="125"/>
                  <a:pt x="1811" y="125"/>
                  <a:pt x="1811" y="125"/>
                </a:cubicBezTo>
                <a:cubicBezTo>
                  <a:pt x="1811" y="52"/>
                  <a:pt x="1811" y="52"/>
                  <a:pt x="1811" y="52"/>
                </a:cubicBezTo>
                <a:cubicBezTo>
                  <a:pt x="1789" y="60"/>
                  <a:pt x="1789" y="60"/>
                  <a:pt x="1789" y="60"/>
                </a:cubicBezTo>
                <a:cubicBezTo>
                  <a:pt x="1789" y="125"/>
                  <a:pt x="1789" y="125"/>
                  <a:pt x="1789" y="125"/>
                </a:cubicBezTo>
                <a:cubicBezTo>
                  <a:pt x="1744" y="125"/>
                  <a:pt x="1744" y="125"/>
                  <a:pt x="1744" y="125"/>
                </a:cubicBezTo>
                <a:cubicBezTo>
                  <a:pt x="1744" y="146"/>
                  <a:pt x="1744" y="146"/>
                  <a:pt x="1744" y="146"/>
                </a:cubicBezTo>
                <a:cubicBezTo>
                  <a:pt x="1789" y="146"/>
                  <a:pt x="1789" y="146"/>
                  <a:pt x="1789" y="146"/>
                </a:cubicBezTo>
                <a:cubicBezTo>
                  <a:pt x="1789" y="315"/>
                  <a:pt x="1789" y="315"/>
                  <a:pt x="1789" y="315"/>
                </a:cubicBezTo>
                <a:cubicBezTo>
                  <a:pt x="1789" y="359"/>
                  <a:pt x="1807" y="382"/>
                  <a:pt x="1844" y="382"/>
                </a:cubicBezTo>
                <a:cubicBezTo>
                  <a:pt x="1855" y="382"/>
                  <a:pt x="1866" y="379"/>
                  <a:pt x="1877" y="373"/>
                </a:cubicBezTo>
                <a:cubicBezTo>
                  <a:pt x="1877" y="352"/>
                  <a:pt x="1877" y="352"/>
                  <a:pt x="1877" y="352"/>
                </a:cubicBezTo>
                <a:cubicBezTo>
                  <a:pt x="1877" y="352"/>
                  <a:pt x="1877" y="352"/>
                  <a:pt x="1877" y="352"/>
                </a:cubicBezTo>
                <a:close/>
                <a:moveTo>
                  <a:pt x="1737" y="5"/>
                </a:moveTo>
                <a:cubicBezTo>
                  <a:pt x="1730" y="2"/>
                  <a:pt x="1721" y="0"/>
                  <a:pt x="1710" y="0"/>
                </a:cubicBezTo>
                <a:cubicBezTo>
                  <a:pt x="1690" y="0"/>
                  <a:pt x="1673" y="7"/>
                  <a:pt x="1660" y="22"/>
                </a:cubicBezTo>
                <a:cubicBezTo>
                  <a:pt x="1647" y="36"/>
                  <a:pt x="1641" y="56"/>
                  <a:pt x="1641" y="81"/>
                </a:cubicBezTo>
                <a:cubicBezTo>
                  <a:pt x="1641" y="125"/>
                  <a:pt x="1641" y="125"/>
                  <a:pt x="1641" y="125"/>
                </a:cubicBezTo>
                <a:cubicBezTo>
                  <a:pt x="1596" y="125"/>
                  <a:pt x="1596" y="125"/>
                  <a:pt x="1596" y="125"/>
                </a:cubicBezTo>
                <a:cubicBezTo>
                  <a:pt x="1596" y="146"/>
                  <a:pt x="1596" y="146"/>
                  <a:pt x="1596" y="146"/>
                </a:cubicBezTo>
                <a:cubicBezTo>
                  <a:pt x="1641" y="146"/>
                  <a:pt x="1641" y="146"/>
                  <a:pt x="1641" y="146"/>
                </a:cubicBezTo>
                <a:cubicBezTo>
                  <a:pt x="1641" y="377"/>
                  <a:pt x="1641" y="377"/>
                  <a:pt x="1641" y="377"/>
                </a:cubicBezTo>
                <a:cubicBezTo>
                  <a:pt x="1663" y="377"/>
                  <a:pt x="1663" y="377"/>
                  <a:pt x="1663" y="377"/>
                </a:cubicBezTo>
                <a:cubicBezTo>
                  <a:pt x="1663" y="146"/>
                  <a:pt x="1663" y="146"/>
                  <a:pt x="1663" y="146"/>
                </a:cubicBezTo>
                <a:cubicBezTo>
                  <a:pt x="1729" y="146"/>
                  <a:pt x="1729" y="146"/>
                  <a:pt x="1729" y="146"/>
                </a:cubicBezTo>
                <a:cubicBezTo>
                  <a:pt x="1729" y="125"/>
                  <a:pt x="1729" y="125"/>
                  <a:pt x="1729" y="125"/>
                </a:cubicBezTo>
                <a:cubicBezTo>
                  <a:pt x="1663" y="125"/>
                  <a:pt x="1663" y="125"/>
                  <a:pt x="1663" y="125"/>
                </a:cubicBezTo>
                <a:cubicBezTo>
                  <a:pt x="1663" y="83"/>
                  <a:pt x="1663" y="83"/>
                  <a:pt x="1663" y="83"/>
                </a:cubicBezTo>
                <a:cubicBezTo>
                  <a:pt x="1663" y="42"/>
                  <a:pt x="1679" y="21"/>
                  <a:pt x="1709" y="21"/>
                </a:cubicBezTo>
                <a:cubicBezTo>
                  <a:pt x="1721" y="21"/>
                  <a:pt x="1730" y="23"/>
                  <a:pt x="1737" y="28"/>
                </a:cubicBezTo>
                <a:cubicBezTo>
                  <a:pt x="1737" y="5"/>
                  <a:pt x="1737" y="5"/>
                  <a:pt x="1737" y="5"/>
                </a:cubicBezTo>
                <a:cubicBezTo>
                  <a:pt x="1737" y="5"/>
                  <a:pt x="1737" y="5"/>
                  <a:pt x="1737" y="5"/>
                </a:cubicBezTo>
                <a:close/>
                <a:moveTo>
                  <a:pt x="1532" y="168"/>
                </a:moveTo>
                <a:cubicBezTo>
                  <a:pt x="1548" y="187"/>
                  <a:pt x="1556" y="215"/>
                  <a:pt x="1556" y="251"/>
                </a:cubicBezTo>
                <a:cubicBezTo>
                  <a:pt x="1556" y="286"/>
                  <a:pt x="1548" y="313"/>
                  <a:pt x="1531" y="333"/>
                </a:cubicBezTo>
                <a:cubicBezTo>
                  <a:pt x="1515" y="352"/>
                  <a:pt x="1492" y="362"/>
                  <a:pt x="1462" y="362"/>
                </a:cubicBezTo>
                <a:cubicBezTo>
                  <a:pt x="1433" y="362"/>
                  <a:pt x="1410" y="352"/>
                  <a:pt x="1393" y="332"/>
                </a:cubicBezTo>
                <a:cubicBezTo>
                  <a:pt x="1375" y="313"/>
                  <a:pt x="1367" y="286"/>
                  <a:pt x="1367" y="253"/>
                </a:cubicBezTo>
                <a:cubicBezTo>
                  <a:pt x="1367" y="218"/>
                  <a:pt x="1375" y="190"/>
                  <a:pt x="1393" y="170"/>
                </a:cubicBezTo>
                <a:cubicBezTo>
                  <a:pt x="1410" y="150"/>
                  <a:pt x="1434" y="140"/>
                  <a:pt x="1463" y="140"/>
                </a:cubicBezTo>
                <a:cubicBezTo>
                  <a:pt x="1493" y="140"/>
                  <a:pt x="1516" y="149"/>
                  <a:pt x="1532" y="168"/>
                </a:cubicBezTo>
                <a:moveTo>
                  <a:pt x="1547" y="347"/>
                </a:moveTo>
                <a:cubicBezTo>
                  <a:pt x="1568" y="322"/>
                  <a:pt x="1579" y="291"/>
                  <a:pt x="1579" y="251"/>
                </a:cubicBezTo>
                <a:cubicBezTo>
                  <a:pt x="1579" y="210"/>
                  <a:pt x="1569" y="178"/>
                  <a:pt x="1548" y="154"/>
                </a:cubicBezTo>
                <a:cubicBezTo>
                  <a:pt x="1528" y="131"/>
                  <a:pt x="1499" y="119"/>
                  <a:pt x="1464" y="119"/>
                </a:cubicBezTo>
                <a:cubicBezTo>
                  <a:pt x="1427" y="119"/>
                  <a:pt x="1398" y="131"/>
                  <a:pt x="1376" y="155"/>
                </a:cubicBezTo>
                <a:cubicBezTo>
                  <a:pt x="1354" y="179"/>
                  <a:pt x="1343" y="211"/>
                  <a:pt x="1343" y="252"/>
                </a:cubicBezTo>
                <a:cubicBezTo>
                  <a:pt x="1343" y="292"/>
                  <a:pt x="1354" y="323"/>
                  <a:pt x="1375" y="347"/>
                </a:cubicBezTo>
                <a:cubicBezTo>
                  <a:pt x="1397" y="371"/>
                  <a:pt x="1425" y="383"/>
                  <a:pt x="1461" y="383"/>
                </a:cubicBezTo>
                <a:cubicBezTo>
                  <a:pt x="1497" y="383"/>
                  <a:pt x="1526" y="371"/>
                  <a:pt x="1547" y="347"/>
                </a:cubicBezTo>
                <a:moveTo>
                  <a:pt x="1215" y="383"/>
                </a:moveTo>
                <a:cubicBezTo>
                  <a:pt x="1240" y="383"/>
                  <a:pt x="1261" y="376"/>
                  <a:pt x="1276" y="364"/>
                </a:cubicBezTo>
                <a:cubicBezTo>
                  <a:pt x="1291" y="351"/>
                  <a:pt x="1299" y="334"/>
                  <a:pt x="1299" y="314"/>
                </a:cubicBezTo>
                <a:cubicBezTo>
                  <a:pt x="1299" y="297"/>
                  <a:pt x="1294" y="284"/>
                  <a:pt x="1285" y="274"/>
                </a:cubicBezTo>
                <a:cubicBezTo>
                  <a:pt x="1275" y="264"/>
                  <a:pt x="1257" y="253"/>
                  <a:pt x="1231" y="241"/>
                </a:cubicBezTo>
                <a:cubicBezTo>
                  <a:pt x="1217" y="235"/>
                  <a:pt x="1206" y="229"/>
                  <a:pt x="1199" y="224"/>
                </a:cubicBezTo>
                <a:cubicBezTo>
                  <a:pt x="1192" y="219"/>
                  <a:pt x="1187" y="214"/>
                  <a:pt x="1184" y="209"/>
                </a:cubicBezTo>
                <a:cubicBezTo>
                  <a:pt x="1181" y="203"/>
                  <a:pt x="1179" y="196"/>
                  <a:pt x="1179" y="186"/>
                </a:cubicBezTo>
                <a:cubicBezTo>
                  <a:pt x="1179" y="172"/>
                  <a:pt x="1184" y="161"/>
                  <a:pt x="1194" y="153"/>
                </a:cubicBezTo>
                <a:cubicBezTo>
                  <a:pt x="1205" y="144"/>
                  <a:pt x="1218" y="140"/>
                  <a:pt x="1234" y="140"/>
                </a:cubicBezTo>
                <a:cubicBezTo>
                  <a:pt x="1254" y="140"/>
                  <a:pt x="1273" y="146"/>
                  <a:pt x="1291" y="158"/>
                </a:cubicBezTo>
                <a:cubicBezTo>
                  <a:pt x="1291" y="132"/>
                  <a:pt x="1291" y="132"/>
                  <a:pt x="1291" y="132"/>
                </a:cubicBezTo>
                <a:cubicBezTo>
                  <a:pt x="1276" y="123"/>
                  <a:pt x="1258" y="119"/>
                  <a:pt x="1236" y="119"/>
                </a:cubicBezTo>
                <a:cubicBezTo>
                  <a:pt x="1213" y="119"/>
                  <a:pt x="1194" y="125"/>
                  <a:pt x="1179" y="138"/>
                </a:cubicBezTo>
                <a:cubicBezTo>
                  <a:pt x="1163" y="151"/>
                  <a:pt x="1156" y="167"/>
                  <a:pt x="1156" y="187"/>
                </a:cubicBezTo>
                <a:cubicBezTo>
                  <a:pt x="1156" y="205"/>
                  <a:pt x="1161" y="219"/>
                  <a:pt x="1171" y="230"/>
                </a:cubicBezTo>
                <a:cubicBezTo>
                  <a:pt x="1182" y="241"/>
                  <a:pt x="1198" y="251"/>
                  <a:pt x="1221" y="261"/>
                </a:cubicBezTo>
                <a:cubicBezTo>
                  <a:pt x="1241" y="270"/>
                  <a:pt x="1256" y="279"/>
                  <a:pt x="1264" y="286"/>
                </a:cubicBezTo>
                <a:cubicBezTo>
                  <a:pt x="1271" y="294"/>
                  <a:pt x="1275" y="303"/>
                  <a:pt x="1275" y="314"/>
                </a:cubicBezTo>
                <a:cubicBezTo>
                  <a:pt x="1275" y="346"/>
                  <a:pt x="1256" y="362"/>
                  <a:pt x="1217" y="362"/>
                </a:cubicBezTo>
                <a:cubicBezTo>
                  <a:pt x="1207" y="362"/>
                  <a:pt x="1197" y="360"/>
                  <a:pt x="1184" y="355"/>
                </a:cubicBezTo>
                <a:cubicBezTo>
                  <a:pt x="1172" y="351"/>
                  <a:pt x="1162" y="345"/>
                  <a:pt x="1155" y="338"/>
                </a:cubicBezTo>
                <a:cubicBezTo>
                  <a:pt x="1155" y="366"/>
                  <a:pt x="1155" y="366"/>
                  <a:pt x="1155" y="366"/>
                </a:cubicBezTo>
                <a:cubicBezTo>
                  <a:pt x="1171" y="377"/>
                  <a:pt x="1191" y="383"/>
                  <a:pt x="1215" y="383"/>
                </a:cubicBezTo>
                <a:moveTo>
                  <a:pt x="1058" y="168"/>
                </a:moveTo>
                <a:cubicBezTo>
                  <a:pt x="1075" y="187"/>
                  <a:pt x="1082" y="215"/>
                  <a:pt x="1082" y="251"/>
                </a:cubicBezTo>
                <a:cubicBezTo>
                  <a:pt x="1082" y="286"/>
                  <a:pt x="1074" y="313"/>
                  <a:pt x="1058" y="333"/>
                </a:cubicBezTo>
                <a:cubicBezTo>
                  <a:pt x="1042" y="352"/>
                  <a:pt x="1019" y="362"/>
                  <a:pt x="989" y="362"/>
                </a:cubicBezTo>
                <a:cubicBezTo>
                  <a:pt x="960" y="362"/>
                  <a:pt x="937" y="352"/>
                  <a:pt x="919" y="332"/>
                </a:cubicBezTo>
                <a:cubicBezTo>
                  <a:pt x="902" y="313"/>
                  <a:pt x="893" y="286"/>
                  <a:pt x="893" y="253"/>
                </a:cubicBezTo>
                <a:cubicBezTo>
                  <a:pt x="893" y="218"/>
                  <a:pt x="902" y="190"/>
                  <a:pt x="920" y="170"/>
                </a:cubicBezTo>
                <a:cubicBezTo>
                  <a:pt x="937" y="150"/>
                  <a:pt x="960" y="140"/>
                  <a:pt x="990" y="140"/>
                </a:cubicBezTo>
                <a:cubicBezTo>
                  <a:pt x="1020" y="140"/>
                  <a:pt x="1042" y="149"/>
                  <a:pt x="1058" y="168"/>
                </a:cubicBezTo>
                <a:moveTo>
                  <a:pt x="1074" y="347"/>
                </a:moveTo>
                <a:cubicBezTo>
                  <a:pt x="1095" y="322"/>
                  <a:pt x="1106" y="291"/>
                  <a:pt x="1106" y="251"/>
                </a:cubicBezTo>
                <a:cubicBezTo>
                  <a:pt x="1106" y="210"/>
                  <a:pt x="1096" y="178"/>
                  <a:pt x="1075" y="154"/>
                </a:cubicBezTo>
                <a:cubicBezTo>
                  <a:pt x="1054" y="131"/>
                  <a:pt x="1026" y="119"/>
                  <a:pt x="991" y="119"/>
                </a:cubicBezTo>
                <a:cubicBezTo>
                  <a:pt x="954" y="119"/>
                  <a:pt x="925" y="131"/>
                  <a:pt x="903" y="155"/>
                </a:cubicBezTo>
                <a:cubicBezTo>
                  <a:pt x="881" y="179"/>
                  <a:pt x="870" y="211"/>
                  <a:pt x="870" y="252"/>
                </a:cubicBezTo>
                <a:cubicBezTo>
                  <a:pt x="870" y="292"/>
                  <a:pt x="881" y="323"/>
                  <a:pt x="902" y="347"/>
                </a:cubicBezTo>
                <a:cubicBezTo>
                  <a:pt x="923" y="371"/>
                  <a:pt x="952" y="383"/>
                  <a:pt x="988" y="383"/>
                </a:cubicBezTo>
                <a:cubicBezTo>
                  <a:pt x="1024" y="383"/>
                  <a:pt x="1052" y="371"/>
                  <a:pt x="1074" y="347"/>
                </a:cubicBezTo>
                <a:moveTo>
                  <a:pt x="851" y="125"/>
                </a:moveTo>
                <a:cubicBezTo>
                  <a:pt x="844" y="122"/>
                  <a:pt x="835" y="120"/>
                  <a:pt x="826" y="120"/>
                </a:cubicBezTo>
                <a:cubicBezTo>
                  <a:pt x="810" y="120"/>
                  <a:pt x="796" y="126"/>
                  <a:pt x="783" y="136"/>
                </a:cubicBezTo>
                <a:cubicBezTo>
                  <a:pt x="771" y="147"/>
                  <a:pt x="762" y="162"/>
                  <a:pt x="756" y="181"/>
                </a:cubicBezTo>
                <a:cubicBezTo>
                  <a:pt x="755" y="181"/>
                  <a:pt x="755" y="181"/>
                  <a:pt x="755" y="181"/>
                </a:cubicBezTo>
                <a:cubicBezTo>
                  <a:pt x="755" y="125"/>
                  <a:pt x="755" y="125"/>
                  <a:pt x="755" y="125"/>
                </a:cubicBezTo>
                <a:cubicBezTo>
                  <a:pt x="733" y="125"/>
                  <a:pt x="733" y="125"/>
                  <a:pt x="733" y="125"/>
                </a:cubicBezTo>
                <a:cubicBezTo>
                  <a:pt x="733" y="377"/>
                  <a:pt x="733" y="377"/>
                  <a:pt x="733" y="377"/>
                </a:cubicBezTo>
                <a:cubicBezTo>
                  <a:pt x="755" y="377"/>
                  <a:pt x="755" y="377"/>
                  <a:pt x="755" y="377"/>
                </a:cubicBezTo>
                <a:cubicBezTo>
                  <a:pt x="755" y="259"/>
                  <a:pt x="755" y="259"/>
                  <a:pt x="755" y="259"/>
                </a:cubicBezTo>
                <a:cubicBezTo>
                  <a:pt x="755" y="235"/>
                  <a:pt x="758" y="214"/>
                  <a:pt x="764" y="196"/>
                </a:cubicBezTo>
                <a:cubicBezTo>
                  <a:pt x="770" y="178"/>
                  <a:pt x="778" y="164"/>
                  <a:pt x="789" y="155"/>
                </a:cubicBezTo>
                <a:cubicBezTo>
                  <a:pt x="800" y="145"/>
                  <a:pt x="811" y="141"/>
                  <a:pt x="825" y="141"/>
                </a:cubicBezTo>
                <a:cubicBezTo>
                  <a:pt x="835" y="141"/>
                  <a:pt x="843" y="143"/>
                  <a:pt x="851" y="149"/>
                </a:cubicBezTo>
                <a:cubicBezTo>
                  <a:pt x="851" y="125"/>
                  <a:pt x="851" y="125"/>
                  <a:pt x="851" y="125"/>
                </a:cubicBezTo>
                <a:cubicBezTo>
                  <a:pt x="851" y="125"/>
                  <a:pt x="851" y="125"/>
                  <a:pt x="851" y="125"/>
                </a:cubicBezTo>
                <a:close/>
                <a:moveTo>
                  <a:pt x="674" y="342"/>
                </a:moveTo>
                <a:cubicBezTo>
                  <a:pt x="655" y="355"/>
                  <a:pt x="633" y="362"/>
                  <a:pt x="608" y="362"/>
                </a:cubicBezTo>
                <a:cubicBezTo>
                  <a:pt x="581" y="362"/>
                  <a:pt x="559" y="352"/>
                  <a:pt x="542" y="332"/>
                </a:cubicBezTo>
                <a:cubicBezTo>
                  <a:pt x="526" y="312"/>
                  <a:pt x="518" y="286"/>
                  <a:pt x="518" y="254"/>
                </a:cubicBezTo>
                <a:cubicBezTo>
                  <a:pt x="518" y="232"/>
                  <a:pt x="522" y="212"/>
                  <a:pt x="530" y="195"/>
                </a:cubicBezTo>
                <a:cubicBezTo>
                  <a:pt x="538" y="177"/>
                  <a:pt x="550" y="164"/>
                  <a:pt x="565" y="154"/>
                </a:cubicBezTo>
                <a:cubicBezTo>
                  <a:pt x="580" y="144"/>
                  <a:pt x="597" y="140"/>
                  <a:pt x="616" y="140"/>
                </a:cubicBezTo>
                <a:cubicBezTo>
                  <a:pt x="637" y="140"/>
                  <a:pt x="657" y="145"/>
                  <a:pt x="675" y="156"/>
                </a:cubicBezTo>
                <a:cubicBezTo>
                  <a:pt x="675" y="131"/>
                  <a:pt x="675" y="131"/>
                  <a:pt x="675" y="131"/>
                </a:cubicBezTo>
                <a:cubicBezTo>
                  <a:pt x="657" y="123"/>
                  <a:pt x="638" y="119"/>
                  <a:pt x="619" y="119"/>
                </a:cubicBezTo>
                <a:cubicBezTo>
                  <a:pt x="595" y="119"/>
                  <a:pt x="574" y="125"/>
                  <a:pt x="555" y="136"/>
                </a:cubicBezTo>
                <a:cubicBezTo>
                  <a:pt x="536" y="148"/>
                  <a:pt x="521" y="164"/>
                  <a:pt x="510" y="185"/>
                </a:cubicBezTo>
                <a:cubicBezTo>
                  <a:pt x="500" y="206"/>
                  <a:pt x="494" y="230"/>
                  <a:pt x="494" y="255"/>
                </a:cubicBezTo>
                <a:cubicBezTo>
                  <a:pt x="494" y="280"/>
                  <a:pt x="499" y="302"/>
                  <a:pt x="508" y="321"/>
                </a:cubicBezTo>
                <a:cubicBezTo>
                  <a:pt x="518" y="341"/>
                  <a:pt x="531" y="356"/>
                  <a:pt x="548" y="367"/>
                </a:cubicBezTo>
                <a:cubicBezTo>
                  <a:pt x="566" y="377"/>
                  <a:pt x="585" y="383"/>
                  <a:pt x="607" y="383"/>
                </a:cubicBezTo>
                <a:cubicBezTo>
                  <a:pt x="633" y="383"/>
                  <a:pt x="655" y="377"/>
                  <a:pt x="674" y="366"/>
                </a:cubicBezTo>
                <a:cubicBezTo>
                  <a:pt x="674" y="342"/>
                  <a:pt x="674" y="342"/>
                  <a:pt x="674" y="342"/>
                </a:cubicBezTo>
                <a:cubicBezTo>
                  <a:pt x="674" y="342"/>
                  <a:pt x="674" y="342"/>
                  <a:pt x="674" y="342"/>
                </a:cubicBezTo>
                <a:close/>
                <a:moveTo>
                  <a:pt x="432" y="125"/>
                </a:moveTo>
                <a:cubicBezTo>
                  <a:pt x="410" y="125"/>
                  <a:pt x="410" y="125"/>
                  <a:pt x="410" y="125"/>
                </a:cubicBezTo>
                <a:cubicBezTo>
                  <a:pt x="410" y="377"/>
                  <a:pt x="410" y="377"/>
                  <a:pt x="410" y="377"/>
                </a:cubicBezTo>
                <a:cubicBezTo>
                  <a:pt x="432" y="377"/>
                  <a:pt x="432" y="377"/>
                  <a:pt x="432" y="377"/>
                </a:cubicBezTo>
                <a:cubicBezTo>
                  <a:pt x="432" y="125"/>
                  <a:pt x="432" y="125"/>
                  <a:pt x="432" y="125"/>
                </a:cubicBezTo>
                <a:cubicBezTo>
                  <a:pt x="432" y="125"/>
                  <a:pt x="432" y="125"/>
                  <a:pt x="432" y="125"/>
                </a:cubicBezTo>
                <a:close/>
                <a:moveTo>
                  <a:pt x="434" y="56"/>
                </a:moveTo>
                <a:cubicBezTo>
                  <a:pt x="438" y="52"/>
                  <a:pt x="440" y="48"/>
                  <a:pt x="440" y="43"/>
                </a:cubicBezTo>
                <a:cubicBezTo>
                  <a:pt x="440" y="37"/>
                  <a:pt x="438" y="33"/>
                  <a:pt x="434" y="29"/>
                </a:cubicBezTo>
                <a:cubicBezTo>
                  <a:pt x="430" y="26"/>
                  <a:pt x="426" y="24"/>
                  <a:pt x="421" y="24"/>
                </a:cubicBezTo>
                <a:cubicBezTo>
                  <a:pt x="416" y="24"/>
                  <a:pt x="412" y="26"/>
                  <a:pt x="408" y="29"/>
                </a:cubicBezTo>
                <a:cubicBezTo>
                  <a:pt x="404" y="33"/>
                  <a:pt x="402" y="37"/>
                  <a:pt x="402" y="43"/>
                </a:cubicBezTo>
                <a:cubicBezTo>
                  <a:pt x="402" y="48"/>
                  <a:pt x="404" y="53"/>
                  <a:pt x="408" y="56"/>
                </a:cubicBezTo>
                <a:cubicBezTo>
                  <a:pt x="412" y="60"/>
                  <a:pt x="416" y="62"/>
                  <a:pt x="421" y="62"/>
                </a:cubicBezTo>
                <a:cubicBezTo>
                  <a:pt x="426" y="62"/>
                  <a:pt x="431" y="60"/>
                  <a:pt x="434" y="56"/>
                </a:cubicBezTo>
                <a:moveTo>
                  <a:pt x="325" y="377"/>
                </a:moveTo>
                <a:cubicBezTo>
                  <a:pt x="325" y="24"/>
                  <a:pt x="325" y="24"/>
                  <a:pt x="325" y="24"/>
                </a:cubicBezTo>
                <a:cubicBezTo>
                  <a:pt x="304" y="24"/>
                  <a:pt x="304" y="24"/>
                  <a:pt x="304" y="24"/>
                </a:cubicBezTo>
                <a:cubicBezTo>
                  <a:pt x="175" y="306"/>
                  <a:pt x="175" y="306"/>
                  <a:pt x="175" y="306"/>
                </a:cubicBezTo>
                <a:cubicBezTo>
                  <a:pt x="164" y="337"/>
                  <a:pt x="164" y="337"/>
                  <a:pt x="164" y="337"/>
                </a:cubicBezTo>
                <a:cubicBezTo>
                  <a:pt x="163" y="337"/>
                  <a:pt x="163" y="337"/>
                  <a:pt x="163" y="337"/>
                </a:cubicBezTo>
                <a:cubicBezTo>
                  <a:pt x="155" y="315"/>
                  <a:pt x="155" y="315"/>
                  <a:pt x="155" y="315"/>
                </a:cubicBezTo>
                <a:cubicBezTo>
                  <a:pt x="152" y="308"/>
                  <a:pt x="152" y="308"/>
                  <a:pt x="152" y="308"/>
                </a:cubicBezTo>
                <a:cubicBezTo>
                  <a:pt x="22" y="24"/>
                  <a:pt x="22" y="24"/>
                  <a:pt x="22" y="24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377"/>
                  <a:pt x="0" y="377"/>
                  <a:pt x="0" y="377"/>
                </a:cubicBezTo>
                <a:cubicBezTo>
                  <a:pt x="24" y="377"/>
                  <a:pt x="24" y="377"/>
                  <a:pt x="24" y="377"/>
                </a:cubicBezTo>
                <a:cubicBezTo>
                  <a:pt x="24" y="121"/>
                  <a:pt x="24" y="121"/>
                  <a:pt x="24" y="121"/>
                </a:cubicBezTo>
                <a:cubicBezTo>
                  <a:pt x="24" y="103"/>
                  <a:pt x="23" y="88"/>
                  <a:pt x="22" y="74"/>
                </a:cubicBezTo>
                <a:cubicBezTo>
                  <a:pt x="23" y="74"/>
                  <a:pt x="23" y="74"/>
                  <a:pt x="23" y="74"/>
                </a:cubicBezTo>
                <a:cubicBezTo>
                  <a:pt x="26" y="87"/>
                  <a:pt x="30" y="98"/>
                  <a:pt x="35" y="107"/>
                </a:cubicBezTo>
                <a:cubicBezTo>
                  <a:pt x="159" y="377"/>
                  <a:pt x="159" y="377"/>
                  <a:pt x="159" y="377"/>
                </a:cubicBezTo>
                <a:cubicBezTo>
                  <a:pt x="167" y="377"/>
                  <a:pt x="167" y="377"/>
                  <a:pt x="167" y="377"/>
                </a:cubicBezTo>
                <a:cubicBezTo>
                  <a:pt x="291" y="105"/>
                  <a:pt x="291" y="105"/>
                  <a:pt x="291" y="105"/>
                </a:cubicBezTo>
                <a:cubicBezTo>
                  <a:pt x="304" y="75"/>
                  <a:pt x="304" y="75"/>
                  <a:pt x="304" y="75"/>
                </a:cubicBezTo>
                <a:cubicBezTo>
                  <a:pt x="305" y="75"/>
                  <a:pt x="305" y="75"/>
                  <a:pt x="305" y="75"/>
                </a:cubicBezTo>
                <a:cubicBezTo>
                  <a:pt x="302" y="127"/>
                  <a:pt x="302" y="127"/>
                  <a:pt x="302" y="127"/>
                </a:cubicBezTo>
                <a:cubicBezTo>
                  <a:pt x="302" y="377"/>
                  <a:pt x="302" y="377"/>
                  <a:pt x="302" y="377"/>
                </a:cubicBezTo>
                <a:cubicBezTo>
                  <a:pt x="325" y="377"/>
                  <a:pt x="325" y="377"/>
                  <a:pt x="325" y="377"/>
                </a:cubicBezTo>
                <a:cubicBezTo>
                  <a:pt x="325" y="377"/>
                  <a:pt x="325" y="377"/>
                  <a:pt x="325" y="37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7226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SPLIT ALT RED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>
          <a:xfrm>
            <a:off x="9" y="0"/>
            <a:ext cx="11507609" cy="6859191"/>
          </a:xfrm>
          <a:custGeom>
            <a:avLst/>
            <a:gdLst>
              <a:gd name="connsiteX0" fmla="*/ 0 w 11504613"/>
              <a:gd name="connsiteY0" fmla="*/ 0 h 6995740"/>
              <a:gd name="connsiteX1" fmla="*/ 8979202 w 11504613"/>
              <a:gd name="connsiteY1" fmla="*/ 0 h 6995740"/>
              <a:gd name="connsiteX2" fmla="*/ 5278038 w 11504613"/>
              <a:gd name="connsiteY2" fmla="*/ 6995739 h 6995740"/>
              <a:gd name="connsiteX3" fmla="*/ 11504613 w 11504613"/>
              <a:gd name="connsiteY3" fmla="*/ 6995739 h 6995740"/>
              <a:gd name="connsiteX4" fmla="*/ 11504613 w 11504613"/>
              <a:gd name="connsiteY4" fmla="*/ 6995740 h 6995740"/>
              <a:gd name="connsiteX5" fmla="*/ 0 w 11504613"/>
              <a:gd name="connsiteY5" fmla="*/ 6995740 h 6995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04613" h="6995740">
                <a:moveTo>
                  <a:pt x="0" y="0"/>
                </a:moveTo>
                <a:lnTo>
                  <a:pt x="8979202" y="0"/>
                </a:lnTo>
                <a:lnTo>
                  <a:pt x="5278038" y="6995739"/>
                </a:lnTo>
                <a:lnTo>
                  <a:pt x="11504613" y="6995739"/>
                </a:lnTo>
                <a:lnTo>
                  <a:pt x="11504613" y="6995740"/>
                </a:lnTo>
                <a:lnTo>
                  <a:pt x="0" y="69957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0">
              <a:gradFill>
                <a:gsLst>
                  <a:gs pos="53097">
                    <a:schemeClr val="tx1"/>
                  </a:gs>
                  <a:gs pos="29000">
                    <a:schemeClr val="tx1"/>
                  </a:gs>
                </a:gsLst>
                <a:lin ang="5400000" scaled="1"/>
              </a:gra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97756" y="340901"/>
            <a:ext cx="6727600" cy="766329"/>
          </a:xfrm>
        </p:spPr>
        <p:txBody>
          <a:bodyPr lIns="0" tIns="0" rIns="0" bIns="0" anchor="t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5294" b="0" kern="1200" cap="none" spc="-98" baseline="0" dirty="0">
                <a:gradFill>
                  <a:gsLst>
                    <a:gs pos="3226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27365" y="2134336"/>
            <a:ext cx="5014449" cy="2604438"/>
          </a:xfrm>
        </p:spPr>
        <p:txBody>
          <a:bodyPr lIns="0" tIns="0" rIns="0" bIns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27830" y="1637277"/>
            <a:ext cx="6073005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3226">
                      <a:schemeClr val="accent4"/>
                    </a:gs>
                    <a:gs pos="14159">
                      <a:schemeClr val="accent4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8560638" y="2134336"/>
            <a:ext cx="3175369" cy="2604438"/>
          </a:xfrm>
        </p:spPr>
        <p:txBody>
          <a:bodyPr lIns="0" tIns="0" rIns="0" bIns="0">
            <a:noAutofit/>
          </a:bodyPr>
          <a:lstStyle>
            <a:lvl1pPr marL="169629" marR="0" indent="-169629" algn="l" defTabSz="498603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961" b="0" kern="1200" cap="none" spc="0" baseline="0" dirty="0" smtClean="0">
                <a:gradFill>
                  <a:gsLst>
                    <a:gs pos="87097">
                      <a:schemeClr val="tx2"/>
                    </a:gs>
                    <a:gs pos="73451">
                      <a:schemeClr val="tx2"/>
                    </a:gs>
                  </a:gsLst>
                  <a:lin ang="5400000" scaled="1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8558773" y="1637277"/>
            <a:ext cx="3177123" cy="379494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498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961" b="0" kern="1200" cap="none" spc="0" baseline="0" dirty="0" smtClean="0">
                <a:gradFill>
                  <a:gsLst>
                    <a:gs pos="87097">
                      <a:schemeClr val="tx2"/>
                    </a:gs>
                    <a:gs pos="73451">
                      <a:schemeClr val="tx2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4773667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111000"/>
                    </a14:imgEffect>
                    <a14:imgEffect>
                      <a14:brightnessContrast brigh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381988" y="-2907"/>
            <a:ext cx="10810009" cy="6860907"/>
          </a:xfrm>
          <a:prstGeom prst="rect">
            <a:avLst/>
          </a:prstGeom>
        </p:spPr>
      </p:pic>
      <p:sp>
        <p:nvSpPr>
          <p:cNvPr id="27" name="Freeform 26"/>
          <p:cNvSpPr>
            <a:spLocks/>
          </p:cNvSpPr>
          <p:nvPr userDrawn="1"/>
        </p:nvSpPr>
        <p:spPr bwMode="white">
          <a:xfrm>
            <a:off x="0" y="-1188"/>
            <a:ext cx="7950602" cy="6860381"/>
          </a:xfrm>
          <a:custGeom>
            <a:avLst/>
            <a:gdLst>
              <a:gd name="connsiteX0" fmla="*/ 0 w 7948531"/>
              <a:gd name="connsiteY0" fmla="*/ 0 h 6996953"/>
              <a:gd name="connsiteX1" fmla="*/ 623824 w 7948531"/>
              <a:gd name="connsiteY1" fmla="*/ 0 h 6996953"/>
              <a:gd name="connsiteX2" fmla="*/ 1892968 w 7948531"/>
              <a:gd name="connsiteY2" fmla="*/ 0 h 6996953"/>
              <a:gd name="connsiteX3" fmla="*/ 4246726 w 7948531"/>
              <a:gd name="connsiteY3" fmla="*/ 0 h 6996953"/>
              <a:gd name="connsiteX4" fmla="*/ 7948531 w 7948531"/>
              <a:gd name="connsiteY4" fmla="*/ 6996953 h 6996953"/>
              <a:gd name="connsiteX5" fmla="*/ 1892968 w 7948531"/>
              <a:gd name="connsiteY5" fmla="*/ 6996953 h 6996953"/>
              <a:gd name="connsiteX6" fmla="*/ 623824 w 7948531"/>
              <a:gd name="connsiteY6" fmla="*/ 6996953 h 6996953"/>
              <a:gd name="connsiteX7" fmla="*/ 0 w 7948531"/>
              <a:gd name="connsiteY7" fmla="*/ 6996953 h 699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948531" h="6996953">
                <a:moveTo>
                  <a:pt x="0" y="0"/>
                </a:moveTo>
                <a:lnTo>
                  <a:pt x="623824" y="0"/>
                </a:lnTo>
                <a:lnTo>
                  <a:pt x="1892968" y="0"/>
                </a:lnTo>
                <a:lnTo>
                  <a:pt x="4246726" y="0"/>
                </a:lnTo>
                <a:lnTo>
                  <a:pt x="7948531" y="6996953"/>
                </a:lnTo>
                <a:lnTo>
                  <a:pt x="1892968" y="6996953"/>
                </a:lnTo>
                <a:lnTo>
                  <a:pt x="623824" y="6996953"/>
                </a:lnTo>
                <a:lnTo>
                  <a:pt x="0" y="699695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2130"/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27364" y="2427150"/>
            <a:ext cx="4541535" cy="766329"/>
          </a:xfrm>
        </p:spPr>
        <p:txBody>
          <a:bodyPr lIns="0" tIns="0" rIns="0" bIns="0" anchor="b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1961" b="0" kern="1200" cap="none" spc="0" baseline="0" dirty="0">
                <a:gradFill>
                  <a:gsLst>
                    <a:gs pos="91398">
                      <a:schemeClr val="tx1"/>
                    </a:gs>
                    <a:gs pos="73118">
                      <a:schemeClr val="tx1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86788" y="3409762"/>
            <a:ext cx="5067762" cy="766329"/>
          </a:xfrm>
        </p:spPr>
        <p:txBody>
          <a:bodyPr lIns="0" tIns="0" rIns="0" bIns="0" anchor="b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6470" b="0" kern="1200" cap="none" spc="-147" baseline="0" dirty="0">
                <a:gradFill>
                  <a:gsLst>
                    <a:gs pos="91398">
                      <a:schemeClr val="tx1"/>
                    </a:gs>
                    <a:gs pos="73118">
                      <a:schemeClr val="tx1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568284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44EB645-4E23-4521-9907-DF485168C3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903470" y="0"/>
            <a:ext cx="10288531" cy="6858000"/>
          </a:xfrm>
          <a:prstGeom prst="rect">
            <a:avLst/>
          </a:prstGeom>
        </p:spPr>
      </p:pic>
      <p:sp>
        <p:nvSpPr>
          <p:cNvPr id="27" name="Freeform 26"/>
          <p:cNvSpPr>
            <a:spLocks/>
          </p:cNvSpPr>
          <p:nvPr userDrawn="1"/>
        </p:nvSpPr>
        <p:spPr bwMode="white">
          <a:xfrm>
            <a:off x="0" y="-1188"/>
            <a:ext cx="7950602" cy="6860381"/>
          </a:xfrm>
          <a:custGeom>
            <a:avLst/>
            <a:gdLst>
              <a:gd name="connsiteX0" fmla="*/ 0 w 7948531"/>
              <a:gd name="connsiteY0" fmla="*/ 0 h 6996953"/>
              <a:gd name="connsiteX1" fmla="*/ 623824 w 7948531"/>
              <a:gd name="connsiteY1" fmla="*/ 0 h 6996953"/>
              <a:gd name="connsiteX2" fmla="*/ 1892968 w 7948531"/>
              <a:gd name="connsiteY2" fmla="*/ 0 h 6996953"/>
              <a:gd name="connsiteX3" fmla="*/ 4246726 w 7948531"/>
              <a:gd name="connsiteY3" fmla="*/ 0 h 6996953"/>
              <a:gd name="connsiteX4" fmla="*/ 7948531 w 7948531"/>
              <a:gd name="connsiteY4" fmla="*/ 6996953 h 6996953"/>
              <a:gd name="connsiteX5" fmla="*/ 1892968 w 7948531"/>
              <a:gd name="connsiteY5" fmla="*/ 6996953 h 6996953"/>
              <a:gd name="connsiteX6" fmla="*/ 623824 w 7948531"/>
              <a:gd name="connsiteY6" fmla="*/ 6996953 h 6996953"/>
              <a:gd name="connsiteX7" fmla="*/ 0 w 7948531"/>
              <a:gd name="connsiteY7" fmla="*/ 6996953 h 699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948531" h="6996953">
                <a:moveTo>
                  <a:pt x="0" y="0"/>
                </a:moveTo>
                <a:lnTo>
                  <a:pt x="623824" y="0"/>
                </a:lnTo>
                <a:lnTo>
                  <a:pt x="1892968" y="0"/>
                </a:lnTo>
                <a:lnTo>
                  <a:pt x="4246726" y="0"/>
                </a:lnTo>
                <a:lnTo>
                  <a:pt x="7948531" y="6996953"/>
                </a:lnTo>
                <a:lnTo>
                  <a:pt x="1892968" y="6996953"/>
                </a:lnTo>
                <a:lnTo>
                  <a:pt x="623824" y="6996953"/>
                </a:lnTo>
                <a:lnTo>
                  <a:pt x="0" y="699695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2130"/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27364" y="2427150"/>
            <a:ext cx="4541535" cy="766329"/>
          </a:xfrm>
        </p:spPr>
        <p:txBody>
          <a:bodyPr lIns="0" tIns="0" rIns="0" bIns="0" anchor="b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1961" b="0" kern="1200" cap="none" spc="0" baseline="0" dirty="0">
                <a:gradFill>
                  <a:gsLst>
                    <a:gs pos="91398">
                      <a:schemeClr val="tx1"/>
                    </a:gs>
                    <a:gs pos="73118">
                      <a:schemeClr val="tx1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86788" y="3409762"/>
            <a:ext cx="5067762" cy="766329"/>
          </a:xfrm>
        </p:spPr>
        <p:txBody>
          <a:bodyPr lIns="0" tIns="0" rIns="0" bIns="0" anchor="b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6470" b="0" kern="1200" cap="none" spc="-147" baseline="0" dirty="0">
                <a:gradFill>
                  <a:gsLst>
                    <a:gs pos="91398">
                      <a:schemeClr val="tx1"/>
                    </a:gs>
                    <a:gs pos="73118">
                      <a:schemeClr val="tx1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65756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111000"/>
                    </a14:imgEffect>
                    <a14:imgEffect>
                      <a14:brightnessContrast brigh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381988" y="-2907"/>
            <a:ext cx="10810009" cy="6860907"/>
          </a:xfrm>
          <a:prstGeom prst="rect">
            <a:avLst/>
          </a:prstGeom>
        </p:spPr>
      </p:pic>
      <p:sp>
        <p:nvSpPr>
          <p:cNvPr id="27" name="Freeform 26"/>
          <p:cNvSpPr>
            <a:spLocks/>
          </p:cNvSpPr>
          <p:nvPr userDrawn="1"/>
        </p:nvSpPr>
        <p:spPr bwMode="white">
          <a:xfrm>
            <a:off x="0" y="-1188"/>
            <a:ext cx="7950602" cy="6860381"/>
          </a:xfrm>
          <a:custGeom>
            <a:avLst/>
            <a:gdLst>
              <a:gd name="connsiteX0" fmla="*/ 0 w 7948531"/>
              <a:gd name="connsiteY0" fmla="*/ 0 h 6996953"/>
              <a:gd name="connsiteX1" fmla="*/ 623824 w 7948531"/>
              <a:gd name="connsiteY1" fmla="*/ 0 h 6996953"/>
              <a:gd name="connsiteX2" fmla="*/ 1892968 w 7948531"/>
              <a:gd name="connsiteY2" fmla="*/ 0 h 6996953"/>
              <a:gd name="connsiteX3" fmla="*/ 4246726 w 7948531"/>
              <a:gd name="connsiteY3" fmla="*/ 0 h 6996953"/>
              <a:gd name="connsiteX4" fmla="*/ 7948531 w 7948531"/>
              <a:gd name="connsiteY4" fmla="*/ 6996953 h 6996953"/>
              <a:gd name="connsiteX5" fmla="*/ 1892968 w 7948531"/>
              <a:gd name="connsiteY5" fmla="*/ 6996953 h 6996953"/>
              <a:gd name="connsiteX6" fmla="*/ 623824 w 7948531"/>
              <a:gd name="connsiteY6" fmla="*/ 6996953 h 6996953"/>
              <a:gd name="connsiteX7" fmla="*/ 0 w 7948531"/>
              <a:gd name="connsiteY7" fmla="*/ 6996953 h 699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948531" h="6996953">
                <a:moveTo>
                  <a:pt x="0" y="0"/>
                </a:moveTo>
                <a:lnTo>
                  <a:pt x="623824" y="0"/>
                </a:lnTo>
                <a:lnTo>
                  <a:pt x="1892968" y="0"/>
                </a:lnTo>
                <a:lnTo>
                  <a:pt x="4246726" y="0"/>
                </a:lnTo>
                <a:lnTo>
                  <a:pt x="7948531" y="6996953"/>
                </a:lnTo>
                <a:lnTo>
                  <a:pt x="1892968" y="6996953"/>
                </a:lnTo>
                <a:lnTo>
                  <a:pt x="623824" y="6996953"/>
                </a:lnTo>
                <a:lnTo>
                  <a:pt x="0" y="699695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2130"/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36669" y="2427150"/>
            <a:ext cx="4541535" cy="766329"/>
          </a:xfrm>
        </p:spPr>
        <p:txBody>
          <a:bodyPr lIns="0" tIns="0" rIns="0" bIns="0" anchor="b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1961" b="0" kern="1200" cap="none" spc="0" baseline="0" dirty="0">
                <a:gradFill>
                  <a:gsLst>
                    <a:gs pos="91398">
                      <a:schemeClr val="bg2"/>
                    </a:gs>
                    <a:gs pos="73118">
                      <a:schemeClr val="bg2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96093" y="3409762"/>
            <a:ext cx="5067762" cy="766329"/>
          </a:xfrm>
        </p:spPr>
        <p:txBody>
          <a:bodyPr lIns="0" tIns="0" rIns="0" bIns="0" anchor="b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6470" b="0" kern="1200" cap="none" spc="-147" baseline="0" dirty="0">
                <a:gradFill>
                  <a:gsLst>
                    <a:gs pos="91398">
                      <a:schemeClr val="bg2"/>
                    </a:gs>
                    <a:gs pos="73118">
                      <a:schemeClr val="bg2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676565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SECTION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111000"/>
                    </a14:imgEffect>
                    <a14:imgEffect>
                      <a14:brightnessContrast brigh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381988" y="-2907"/>
            <a:ext cx="10810009" cy="6860907"/>
          </a:xfrm>
          <a:prstGeom prst="rect">
            <a:avLst/>
          </a:prstGeom>
        </p:spPr>
      </p:pic>
      <p:sp>
        <p:nvSpPr>
          <p:cNvPr id="27" name="Freeform 26"/>
          <p:cNvSpPr>
            <a:spLocks/>
          </p:cNvSpPr>
          <p:nvPr userDrawn="1"/>
        </p:nvSpPr>
        <p:spPr bwMode="white">
          <a:xfrm>
            <a:off x="0" y="-1188"/>
            <a:ext cx="7950602" cy="6860381"/>
          </a:xfrm>
          <a:custGeom>
            <a:avLst/>
            <a:gdLst>
              <a:gd name="connsiteX0" fmla="*/ 0 w 7948531"/>
              <a:gd name="connsiteY0" fmla="*/ 0 h 6996953"/>
              <a:gd name="connsiteX1" fmla="*/ 623824 w 7948531"/>
              <a:gd name="connsiteY1" fmla="*/ 0 h 6996953"/>
              <a:gd name="connsiteX2" fmla="*/ 1892968 w 7948531"/>
              <a:gd name="connsiteY2" fmla="*/ 0 h 6996953"/>
              <a:gd name="connsiteX3" fmla="*/ 4246726 w 7948531"/>
              <a:gd name="connsiteY3" fmla="*/ 0 h 6996953"/>
              <a:gd name="connsiteX4" fmla="*/ 7948531 w 7948531"/>
              <a:gd name="connsiteY4" fmla="*/ 6996953 h 6996953"/>
              <a:gd name="connsiteX5" fmla="*/ 1892968 w 7948531"/>
              <a:gd name="connsiteY5" fmla="*/ 6996953 h 6996953"/>
              <a:gd name="connsiteX6" fmla="*/ 623824 w 7948531"/>
              <a:gd name="connsiteY6" fmla="*/ 6996953 h 6996953"/>
              <a:gd name="connsiteX7" fmla="*/ 0 w 7948531"/>
              <a:gd name="connsiteY7" fmla="*/ 6996953 h 699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948531" h="6996953">
                <a:moveTo>
                  <a:pt x="0" y="0"/>
                </a:moveTo>
                <a:lnTo>
                  <a:pt x="623824" y="0"/>
                </a:lnTo>
                <a:lnTo>
                  <a:pt x="1892968" y="0"/>
                </a:lnTo>
                <a:lnTo>
                  <a:pt x="4246726" y="0"/>
                </a:lnTo>
                <a:lnTo>
                  <a:pt x="7948531" y="6996953"/>
                </a:lnTo>
                <a:lnTo>
                  <a:pt x="1892968" y="6996953"/>
                </a:lnTo>
                <a:lnTo>
                  <a:pt x="623824" y="6996953"/>
                </a:lnTo>
                <a:lnTo>
                  <a:pt x="0" y="699695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2130"/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36669" y="2427150"/>
            <a:ext cx="4541535" cy="766329"/>
          </a:xfrm>
        </p:spPr>
        <p:txBody>
          <a:bodyPr lIns="0" tIns="0" rIns="0" bIns="0" anchor="b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1961" b="0" kern="1200" cap="none" spc="0" baseline="0" dirty="0">
                <a:gradFill>
                  <a:gsLst>
                    <a:gs pos="91398">
                      <a:schemeClr val="bg2"/>
                    </a:gs>
                    <a:gs pos="73118">
                      <a:schemeClr val="bg2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96093" y="3409762"/>
            <a:ext cx="5067762" cy="766329"/>
          </a:xfrm>
        </p:spPr>
        <p:txBody>
          <a:bodyPr lIns="0" tIns="0" rIns="0" bIns="0" anchor="b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6470" b="0" kern="1200" cap="none" spc="-147" baseline="0" dirty="0">
                <a:gradFill>
                  <a:gsLst>
                    <a:gs pos="91398">
                      <a:schemeClr val="bg2"/>
                    </a:gs>
                    <a:gs pos="73118">
                      <a:schemeClr val="bg2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549242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6634002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SECTION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288531" cy="6858000"/>
          </a:xfrm>
          <a:prstGeom prst="rect">
            <a:avLst/>
          </a:prstGeom>
        </p:spPr>
      </p:pic>
      <p:sp>
        <p:nvSpPr>
          <p:cNvPr id="11" name="Freeform 10"/>
          <p:cNvSpPr>
            <a:spLocks/>
          </p:cNvSpPr>
          <p:nvPr userDrawn="1"/>
        </p:nvSpPr>
        <p:spPr bwMode="white">
          <a:xfrm rot="10800000">
            <a:off x="4241406" y="5"/>
            <a:ext cx="7950602" cy="6860381"/>
          </a:xfrm>
          <a:custGeom>
            <a:avLst/>
            <a:gdLst>
              <a:gd name="connsiteX0" fmla="*/ 7948531 w 7948531"/>
              <a:gd name="connsiteY0" fmla="*/ 6996953 h 6996953"/>
              <a:gd name="connsiteX1" fmla="*/ 1892968 w 7948531"/>
              <a:gd name="connsiteY1" fmla="*/ 6996953 h 6996953"/>
              <a:gd name="connsiteX2" fmla="*/ 623824 w 7948531"/>
              <a:gd name="connsiteY2" fmla="*/ 6996953 h 6996953"/>
              <a:gd name="connsiteX3" fmla="*/ 0 w 7948531"/>
              <a:gd name="connsiteY3" fmla="*/ 6996953 h 6996953"/>
              <a:gd name="connsiteX4" fmla="*/ 0 w 7948531"/>
              <a:gd name="connsiteY4" fmla="*/ 0 h 6996953"/>
              <a:gd name="connsiteX5" fmla="*/ 623824 w 7948531"/>
              <a:gd name="connsiteY5" fmla="*/ 0 h 6996953"/>
              <a:gd name="connsiteX6" fmla="*/ 1892968 w 7948531"/>
              <a:gd name="connsiteY6" fmla="*/ 0 h 6996953"/>
              <a:gd name="connsiteX7" fmla="*/ 4246726 w 7948531"/>
              <a:gd name="connsiteY7" fmla="*/ 0 h 699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948531" h="6996953">
                <a:moveTo>
                  <a:pt x="7948531" y="6996953"/>
                </a:moveTo>
                <a:lnTo>
                  <a:pt x="1892968" y="6996953"/>
                </a:lnTo>
                <a:lnTo>
                  <a:pt x="623824" y="6996953"/>
                </a:lnTo>
                <a:lnTo>
                  <a:pt x="0" y="6996953"/>
                </a:lnTo>
                <a:lnTo>
                  <a:pt x="0" y="0"/>
                </a:lnTo>
                <a:lnTo>
                  <a:pt x="623824" y="0"/>
                </a:lnTo>
                <a:lnTo>
                  <a:pt x="1892968" y="0"/>
                </a:lnTo>
                <a:lnTo>
                  <a:pt x="424672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213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204896" y="2427150"/>
            <a:ext cx="4541535" cy="766329"/>
          </a:xfrm>
        </p:spPr>
        <p:txBody>
          <a:bodyPr lIns="0" tIns="0" rIns="0" bIns="0" anchor="b" anchorCtr="0">
            <a:noAutofit/>
          </a:bodyPr>
          <a:lstStyle>
            <a:lvl1pPr marL="0" indent="0" algn="r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1961" b="0" kern="1200" cap="none" spc="0" baseline="0" dirty="0">
                <a:gradFill>
                  <a:gsLst>
                    <a:gs pos="74731">
                      <a:schemeClr val="bg2"/>
                    </a:gs>
                    <a:gs pos="56637">
                      <a:schemeClr val="bg2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683004" y="3326359"/>
            <a:ext cx="5067762" cy="766329"/>
          </a:xfrm>
        </p:spPr>
        <p:txBody>
          <a:bodyPr lIns="0" tIns="0" rIns="0" bIns="0" anchor="t" anchorCtr="0">
            <a:noAutofit/>
          </a:bodyPr>
          <a:lstStyle>
            <a:lvl1pPr marL="0" indent="0" algn="r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6470" b="0" kern="1200" cap="none" spc="-147" baseline="0" dirty="0">
                <a:gradFill>
                  <a:gsLst>
                    <a:gs pos="74731">
                      <a:schemeClr val="bg2"/>
                    </a:gs>
                    <a:gs pos="56637">
                      <a:schemeClr val="bg2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9035686" y="6255270"/>
            <a:ext cx="2700321" cy="197242"/>
          </a:xfrm>
          <a:custGeom>
            <a:avLst/>
            <a:gdLst>
              <a:gd name="T0" fmla="*/ 4039 w 6853"/>
              <a:gd name="T1" fmla="*/ 140 h 495"/>
              <a:gd name="T2" fmla="*/ 3975 w 6853"/>
              <a:gd name="T3" fmla="*/ 270 h 495"/>
              <a:gd name="T4" fmla="*/ 4302 w 6853"/>
              <a:gd name="T5" fmla="*/ 140 h 495"/>
              <a:gd name="T6" fmla="*/ 4368 w 6853"/>
              <a:gd name="T7" fmla="*/ 146 h 495"/>
              <a:gd name="T8" fmla="*/ 4446 w 6853"/>
              <a:gd name="T9" fmla="*/ 255 h 495"/>
              <a:gd name="T10" fmla="*/ 4620 w 6853"/>
              <a:gd name="T11" fmla="*/ 164 h 495"/>
              <a:gd name="T12" fmla="*/ 4990 w 6853"/>
              <a:gd name="T13" fmla="*/ 274 h 495"/>
              <a:gd name="T14" fmla="*/ 5032 w 6853"/>
              <a:gd name="T15" fmla="*/ 180 h 495"/>
              <a:gd name="T16" fmla="*/ 5029 w 6853"/>
              <a:gd name="T17" fmla="*/ 119 h 495"/>
              <a:gd name="T18" fmla="*/ 5141 w 6853"/>
              <a:gd name="T19" fmla="*/ 348 h 495"/>
              <a:gd name="T20" fmla="*/ 5223 w 6853"/>
              <a:gd name="T21" fmla="*/ 140 h 495"/>
              <a:gd name="T22" fmla="*/ 5367 w 6853"/>
              <a:gd name="T23" fmla="*/ 312 h 495"/>
              <a:gd name="T24" fmla="*/ 5554 w 6853"/>
              <a:gd name="T25" fmla="*/ 377 h 495"/>
              <a:gd name="T26" fmla="*/ 5462 w 6853"/>
              <a:gd name="T27" fmla="*/ 251 h 495"/>
              <a:gd name="T28" fmla="*/ 5805 w 6853"/>
              <a:gd name="T29" fmla="*/ 165 h 495"/>
              <a:gd name="T30" fmla="*/ 5633 w 6853"/>
              <a:gd name="T31" fmla="*/ 253 h 495"/>
              <a:gd name="T32" fmla="*/ 5918 w 6853"/>
              <a:gd name="T33" fmla="*/ 24 h 495"/>
              <a:gd name="T34" fmla="*/ 6179 w 6853"/>
              <a:gd name="T35" fmla="*/ 377 h 495"/>
              <a:gd name="T36" fmla="*/ 6032 w 6853"/>
              <a:gd name="T37" fmla="*/ 171 h 495"/>
              <a:gd name="T38" fmla="*/ 6453 w 6853"/>
              <a:gd name="T39" fmla="*/ 355 h 495"/>
              <a:gd name="T40" fmla="*/ 6444 w 6853"/>
              <a:gd name="T41" fmla="*/ 231 h 495"/>
              <a:gd name="T42" fmla="*/ 6636 w 6853"/>
              <a:gd name="T43" fmla="*/ 314 h 495"/>
              <a:gd name="T44" fmla="*/ 6554 w 6853"/>
              <a:gd name="T45" fmla="*/ 153 h 495"/>
              <a:gd name="T46" fmla="*/ 6708 w 6853"/>
              <a:gd name="T47" fmla="*/ 338 h 495"/>
              <a:gd name="T48" fmla="*/ 6846 w 6853"/>
              <a:gd name="T49" fmla="*/ 132 h 495"/>
              <a:gd name="T50" fmla="*/ 6769 w 6853"/>
              <a:gd name="T51" fmla="*/ 383 h 495"/>
              <a:gd name="T52" fmla="*/ 3745 w 6853"/>
              <a:gd name="T53" fmla="*/ 222 h 495"/>
              <a:gd name="T54" fmla="*/ 3550 w 6853"/>
              <a:gd name="T55" fmla="*/ 255 h 495"/>
              <a:gd name="T56" fmla="*/ 3737 w 6853"/>
              <a:gd name="T57" fmla="*/ 462 h 495"/>
              <a:gd name="T58" fmla="*/ 3324 w 6853"/>
              <a:gd name="T59" fmla="*/ 125 h 495"/>
              <a:gd name="T60" fmla="*/ 3493 w 6853"/>
              <a:gd name="T61" fmla="*/ 377 h 495"/>
              <a:gd name="T62" fmla="*/ 3210 w 6853"/>
              <a:gd name="T63" fmla="*/ 24 h 495"/>
              <a:gd name="T64" fmla="*/ 2956 w 6853"/>
              <a:gd name="T65" fmla="*/ 171 h 495"/>
              <a:gd name="T66" fmla="*/ 3102 w 6853"/>
              <a:gd name="T67" fmla="*/ 377 h 495"/>
              <a:gd name="T68" fmla="*/ 2769 w 6853"/>
              <a:gd name="T69" fmla="*/ 377 h 495"/>
              <a:gd name="T70" fmla="*/ 2603 w 6853"/>
              <a:gd name="T71" fmla="*/ 251 h 495"/>
              <a:gd name="T72" fmla="*/ 2673 w 6853"/>
              <a:gd name="T73" fmla="*/ 143 h 495"/>
              <a:gd name="T74" fmla="*/ 2585 w 6853"/>
              <a:gd name="T75" fmla="*/ 383 h 495"/>
              <a:gd name="T76" fmla="*/ 2417 w 6853"/>
              <a:gd name="T77" fmla="*/ 163 h 495"/>
              <a:gd name="T78" fmla="*/ 2253 w 6853"/>
              <a:gd name="T79" fmla="*/ 249 h 495"/>
              <a:gd name="T80" fmla="*/ 2212 w 6853"/>
              <a:gd name="T81" fmla="*/ 377 h 495"/>
              <a:gd name="T82" fmla="*/ 1820 w 6853"/>
              <a:gd name="T83" fmla="*/ 350 h 495"/>
              <a:gd name="T84" fmla="*/ 1744 w 6853"/>
              <a:gd name="T85" fmla="*/ 146 h 495"/>
              <a:gd name="T86" fmla="*/ 1641 w 6853"/>
              <a:gd name="T87" fmla="*/ 81 h 495"/>
              <a:gd name="T88" fmla="*/ 1663 w 6853"/>
              <a:gd name="T89" fmla="*/ 125 h 495"/>
              <a:gd name="T90" fmla="*/ 1393 w 6853"/>
              <a:gd name="T91" fmla="*/ 332 h 495"/>
              <a:gd name="T92" fmla="*/ 1343 w 6853"/>
              <a:gd name="T93" fmla="*/ 252 h 495"/>
              <a:gd name="T94" fmla="*/ 1184 w 6853"/>
              <a:gd name="T95" fmla="*/ 209 h 495"/>
              <a:gd name="T96" fmla="*/ 1221 w 6853"/>
              <a:gd name="T97" fmla="*/ 261 h 495"/>
              <a:gd name="T98" fmla="*/ 1058 w 6853"/>
              <a:gd name="T99" fmla="*/ 333 h 495"/>
              <a:gd name="T100" fmla="*/ 991 w 6853"/>
              <a:gd name="T101" fmla="*/ 119 h 495"/>
              <a:gd name="T102" fmla="*/ 755 w 6853"/>
              <a:gd name="T103" fmla="*/ 181 h 495"/>
              <a:gd name="T104" fmla="*/ 851 w 6853"/>
              <a:gd name="T105" fmla="*/ 125 h 495"/>
              <a:gd name="T106" fmla="*/ 675 w 6853"/>
              <a:gd name="T107" fmla="*/ 131 h 495"/>
              <a:gd name="T108" fmla="*/ 674 w 6853"/>
              <a:gd name="T109" fmla="*/ 342 h 495"/>
              <a:gd name="T110" fmla="*/ 421 w 6853"/>
              <a:gd name="T111" fmla="*/ 24 h 495"/>
              <a:gd name="T112" fmla="*/ 164 w 6853"/>
              <a:gd name="T113" fmla="*/ 337 h 495"/>
              <a:gd name="T114" fmla="*/ 23 w 6853"/>
              <a:gd name="T115" fmla="*/ 74 h 495"/>
              <a:gd name="T116" fmla="*/ 325 w 6853"/>
              <a:gd name="T117" fmla="*/ 377 h 4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853" h="495">
                <a:moveTo>
                  <a:pt x="4100" y="377"/>
                </a:moveTo>
                <a:cubicBezTo>
                  <a:pt x="4100" y="326"/>
                  <a:pt x="4100" y="326"/>
                  <a:pt x="4100" y="326"/>
                </a:cubicBezTo>
                <a:cubicBezTo>
                  <a:pt x="4099" y="326"/>
                  <a:pt x="4099" y="326"/>
                  <a:pt x="4099" y="326"/>
                </a:cubicBezTo>
                <a:cubicBezTo>
                  <a:pt x="4091" y="344"/>
                  <a:pt x="4080" y="357"/>
                  <a:pt x="4064" y="367"/>
                </a:cubicBezTo>
                <a:cubicBezTo>
                  <a:pt x="4049" y="378"/>
                  <a:pt x="4032" y="383"/>
                  <a:pt x="4013" y="383"/>
                </a:cubicBezTo>
                <a:cubicBezTo>
                  <a:pt x="3989" y="383"/>
                  <a:pt x="3970" y="376"/>
                  <a:pt x="3957" y="363"/>
                </a:cubicBezTo>
                <a:cubicBezTo>
                  <a:pt x="3943" y="349"/>
                  <a:pt x="3936" y="332"/>
                  <a:pt x="3936" y="312"/>
                </a:cubicBezTo>
                <a:cubicBezTo>
                  <a:pt x="3936" y="268"/>
                  <a:pt x="3965" y="241"/>
                  <a:pt x="4023" y="232"/>
                </a:cubicBezTo>
                <a:cubicBezTo>
                  <a:pt x="4100" y="221"/>
                  <a:pt x="4100" y="221"/>
                  <a:pt x="4100" y="221"/>
                </a:cubicBezTo>
                <a:cubicBezTo>
                  <a:pt x="4100" y="167"/>
                  <a:pt x="4080" y="140"/>
                  <a:pt x="4039" y="140"/>
                </a:cubicBezTo>
                <a:cubicBezTo>
                  <a:pt x="4012" y="140"/>
                  <a:pt x="3985" y="151"/>
                  <a:pt x="3958" y="173"/>
                </a:cubicBezTo>
                <a:cubicBezTo>
                  <a:pt x="3958" y="146"/>
                  <a:pt x="3958" y="146"/>
                  <a:pt x="3958" y="146"/>
                </a:cubicBezTo>
                <a:cubicBezTo>
                  <a:pt x="3968" y="138"/>
                  <a:pt x="3980" y="132"/>
                  <a:pt x="3996" y="127"/>
                </a:cubicBezTo>
                <a:cubicBezTo>
                  <a:pt x="4012" y="122"/>
                  <a:pt x="4027" y="119"/>
                  <a:pt x="4042" y="119"/>
                </a:cubicBezTo>
                <a:cubicBezTo>
                  <a:pt x="4067" y="119"/>
                  <a:pt x="4087" y="127"/>
                  <a:pt x="4102" y="143"/>
                </a:cubicBezTo>
                <a:cubicBezTo>
                  <a:pt x="4116" y="159"/>
                  <a:pt x="4123" y="182"/>
                  <a:pt x="4123" y="213"/>
                </a:cubicBezTo>
                <a:cubicBezTo>
                  <a:pt x="4123" y="377"/>
                  <a:pt x="4123" y="377"/>
                  <a:pt x="4123" y="377"/>
                </a:cubicBezTo>
                <a:lnTo>
                  <a:pt x="4100" y="377"/>
                </a:lnTo>
                <a:close/>
                <a:moveTo>
                  <a:pt x="4031" y="251"/>
                </a:moveTo>
                <a:cubicBezTo>
                  <a:pt x="4005" y="255"/>
                  <a:pt x="3986" y="261"/>
                  <a:pt x="3975" y="270"/>
                </a:cubicBezTo>
                <a:cubicBezTo>
                  <a:pt x="3965" y="278"/>
                  <a:pt x="3959" y="292"/>
                  <a:pt x="3959" y="311"/>
                </a:cubicBezTo>
                <a:cubicBezTo>
                  <a:pt x="3959" y="326"/>
                  <a:pt x="3964" y="338"/>
                  <a:pt x="3974" y="348"/>
                </a:cubicBezTo>
                <a:cubicBezTo>
                  <a:pt x="3984" y="357"/>
                  <a:pt x="3998" y="362"/>
                  <a:pt x="4016" y="362"/>
                </a:cubicBezTo>
                <a:cubicBezTo>
                  <a:pt x="4040" y="362"/>
                  <a:pt x="4060" y="353"/>
                  <a:pt x="4076" y="335"/>
                </a:cubicBezTo>
                <a:cubicBezTo>
                  <a:pt x="4092" y="317"/>
                  <a:pt x="4100" y="294"/>
                  <a:pt x="4100" y="266"/>
                </a:cubicBezTo>
                <a:cubicBezTo>
                  <a:pt x="4100" y="241"/>
                  <a:pt x="4100" y="241"/>
                  <a:pt x="4100" y="241"/>
                </a:cubicBezTo>
                <a:lnTo>
                  <a:pt x="4031" y="251"/>
                </a:lnTo>
                <a:close/>
                <a:moveTo>
                  <a:pt x="4367" y="377"/>
                </a:moveTo>
                <a:cubicBezTo>
                  <a:pt x="4367" y="230"/>
                  <a:pt x="4367" y="230"/>
                  <a:pt x="4367" y="230"/>
                </a:cubicBezTo>
                <a:cubicBezTo>
                  <a:pt x="4367" y="170"/>
                  <a:pt x="4346" y="140"/>
                  <a:pt x="4302" y="140"/>
                </a:cubicBezTo>
                <a:cubicBezTo>
                  <a:pt x="4278" y="140"/>
                  <a:pt x="4258" y="149"/>
                  <a:pt x="4242" y="166"/>
                </a:cubicBezTo>
                <a:cubicBezTo>
                  <a:pt x="4227" y="184"/>
                  <a:pt x="4219" y="206"/>
                  <a:pt x="4219" y="232"/>
                </a:cubicBezTo>
                <a:cubicBezTo>
                  <a:pt x="4219" y="377"/>
                  <a:pt x="4219" y="377"/>
                  <a:pt x="4219" y="377"/>
                </a:cubicBezTo>
                <a:cubicBezTo>
                  <a:pt x="4196" y="377"/>
                  <a:pt x="4196" y="377"/>
                  <a:pt x="4196" y="377"/>
                </a:cubicBezTo>
                <a:cubicBezTo>
                  <a:pt x="4196" y="125"/>
                  <a:pt x="4196" y="125"/>
                  <a:pt x="4196" y="125"/>
                </a:cubicBezTo>
                <a:cubicBezTo>
                  <a:pt x="4219" y="125"/>
                  <a:pt x="4219" y="125"/>
                  <a:pt x="4219" y="125"/>
                </a:cubicBezTo>
                <a:cubicBezTo>
                  <a:pt x="4219" y="171"/>
                  <a:pt x="4219" y="171"/>
                  <a:pt x="4219" y="171"/>
                </a:cubicBezTo>
                <a:cubicBezTo>
                  <a:pt x="4220" y="171"/>
                  <a:pt x="4220" y="171"/>
                  <a:pt x="4220" y="171"/>
                </a:cubicBezTo>
                <a:cubicBezTo>
                  <a:pt x="4238" y="136"/>
                  <a:pt x="4267" y="119"/>
                  <a:pt x="4306" y="119"/>
                </a:cubicBezTo>
                <a:cubicBezTo>
                  <a:pt x="4333" y="119"/>
                  <a:pt x="4354" y="128"/>
                  <a:pt x="4368" y="146"/>
                </a:cubicBezTo>
                <a:cubicBezTo>
                  <a:pt x="4383" y="164"/>
                  <a:pt x="4390" y="190"/>
                  <a:pt x="4390" y="224"/>
                </a:cubicBezTo>
                <a:cubicBezTo>
                  <a:pt x="4390" y="377"/>
                  <a:pt x="4390" y="377"/>
                  <a:pt x="4390" y="377"/>
                </a:cubicBezTo>
                <a:lnTo>
                  <a:pt x="4367" y="377"/>
                </a:lnTo>
                <a:close/>
                <a:moveTo>
                  <a:pt x="4642" y="377"/>
                </a:moveTo>
                <a:cubicBezTo>
                  <a:pt x="4642" y="331"/>
                  <a:pt x="4642" y="331"/>
                  <a:pt x="4642" y="331"/>
                </a:cubicBezTo>
                <a:cubicBezTo>
                  <a:pt x="4641" y="331"/>
                  <a:pt x="4641" y="331"/>
                  <a:pt x="4641" y="331"/>
                </a:cubicBezTo>
                <a:cubicBezTo>
                  <a:pt x="4633" y="347"/>
                  <a:pt x="4621" y="360"/>
                  <a:pt x="4605" y="369"/>
                </a:cubicBezTo>
                <a:cubicBezTo>
                  <a:pt x="4589" y="378"/>
                  <a:pt x="4571" y="383"/>
                  <a:pt x="4551" y="383"/>
                </a:cubicBezTo>
                <a:cubicBezTo>
                  <a:pt x="4520" y="383"/>
                  <a:pt x="4494" y="372"/>
                  <a:pt x="4475" y="349"/>
                </a:cubicBezTo>
                <a:cubicBezTo>
                  <a:pt x="4455" y="326"/>
                  <a:pt x="4446" y="295"/>
                  <a:pt x="4446" y="255"/>
                </a:cubicBezTo>
                <a:cubicBezTo>
                  <a:pt x="4446" y="215"/>
                  <a:pt x="4456" y="182"/>
                  <a:pt x="4478" y="157"/>
                </a:cubicBezTo>
                <a:cubicBezTo>
                  <a:pt x="4499" y="132"/>
                  <a:pt x="4527" y="119"/>
                  <a:pt x="4561" y="119"/>
                </a:cubicBezTo>
                <a:cubicBezTo>
                  <a:pt x="4598" y="119"/>
                  <a:pt x="4625" y="134"/>
                  <a:pt x="4641" y="165"/>
                </a:cubicBezTo>
                <a:cubicBezTo>
                  <a:pt x="4642" y="165"/>
                  <a:pt x="4642" y="165"/>
                  <a:pt x="4642" y="165"/>
                </a:cubicBezTo>
                <a:cubicBezTo>
                  <a:pt x="4642" y="4"/>
                  <a:pt x="4642" y="4"/>
                  <a:pt x="4642" y="4"/>
                </a:cubicBezTo>
                <a:cubicBezTo>
                  <a:pt x="4665" y="4"/>
                  <a:pt x="4665" y="4"/>
                  <a:pt x="4665" y="4"/>
                </a:cubicBezTo>
                <a:cubicBezTo>
                  <a:pt x="4665" y="377"/>
                  <a:pt x="4665" y="377"/>
                  <a:pt x="4665" y="377"/>
                </a:cubicBezTo>
                <a:lnTo>
                  <a:pt x="4642" y="377"/>
                </a:lnTo>
                <a:close/>
                <a:moveTo>
                  <a:pt x="4642" y="224"/>
                </a:moveTo>
                <a:cubicBezTo>
                  <a:pt x="4642" y="200"/>
                  <a:pt x="4635" y="180"/>
                  <a:pt x="4620" y="164"/>
                </a:cubicBezTo>
                <a:cubicBezTo>
                  <a:pt x="4605" y="148"/>
                  <a:pt x="4585" y="140"/>
                  <a:pt x="4560" y="140"/>
                </a:cubicBezTo>
                <a:cubicBezTo>
                  <a:pt x="4534" y="140"/>
                  <a:pt x="4512" y="150"/>
                  <a:pt x="4495" y="170"/>
                </a:cubicBezTo>
                <a:cubicBezTo>
                  <a:pt x="4478" y="190"/>
                  <a:pt x="4469" y="218"/>
                  <a:pt x="4469" y="253"/>
                </a:cubicBezTo>
                <a:cubicBezTo>
                  <a:pt x="4469" y="288"/>
                  <a:pt x="4477" y="315"/>
                  <a:pt x="4492" y="334"/>
                </a:cubicBezTo>
                <a:cubicBezTo>
                  <a:pt x="4508" y="353"/>
                  <a:pt x="4528" y="362"/>
                  <a:pt x="4552" y="362"/>
                </a:cubicBezTo>
                <a:cubicBezTo>
                  <a:pt x="4581" y="362"/>
                  <a:pt x="4603" y="353"/>
                  <a:pt x="4619" y="336"/>
                </a:cubicBezTo>
                <a:cubicBezTo>
                  <a:pt x="4634" y="318"/>
                  <a:pt x="4642" y="296"/>
                  <a:pt x="4642" y="271"/>
                </a:cubicBezTo>
                <a:lnTo>
                  <a:pt x="4642" y="224"/>
                </a:lnTo>
                <a:close/>
                <a:moveTo>
                  <a:pt x="5037" y="377"/>
                </a:moveTo>
                <a:cubicBezTo>
                  <a:pt x="4990" y="274"/>
                  <a:pt x="4990" y="274"/>
                  <a:pt x="4990" y="274"/>
                </a:cubicBezTo>
                <a:cubicBezTo>
                  <a:pt x="4980" y="252"/>
                  <a:pt x="4971" y="238"/>
                  <a:pt x="4961" y="231"/>
                </a:cubicBezTo>
                <a:cubicBezTo>
                  <a:pt x="4951" y="223"/>
                  <a:pt x="4939" y="220"/>
                  <a:pt x="4925" y="220"/>
                </a:cubicBezTo>
                <a:cubicBezTo>
                  <a:pt x="4881" y="220"/>
                  <a:pt x="4881" y="220"/>
                  <a:pt x="4881" y="220"/>
                </a:cubicBezTo>
                <a:cubicBezTo>
                  <a:pt x="4881" y="377"/>
                  <a:pt x="4881" y="377"/>
                  <a:pt x="4881" y="377"/>
                </a:cubicBezTo>
                <a:cubicBezTo>
                  <a:pt x="4857" y="377"/>
                  <a:pt x="4857" y="377"/>
                  <a:pt x="4857" y="377"/>
                </a:cubicBezTo>
                <a:cubicBezTo>
                  <a:pt x="4857" y="24"/>
                  <a:pt x="4857" y="24"/>
                  <a:pt x="4857" y="24"/>
                </a:cubicBezTo>
                <a:cubicBezTo>
                  <a:pt x="4954" y="24"/>
                  <a:pt x="4954" y="24"/>
                  <a:pt x="4954" y="24"/>
                </a:cubicBezTo>
                <a:cubicBezTo>
                  <a:pt x="4985" y="24"/>
                  <a:pt x="5010" y="33"/>
                  <a:pt x="5028" y="50"/>
                </a:cubicBezTo>
                <a:cubicBezTo>
                  <a:pt x="5045" y="66"/>
                  <a:pt x="5054" y="89"/>
                  <a:pt x="5054" y="116"/>
                </a:cubicBezTo>
                <a:cubicBezTo>
                  <a:pt x="5054" y="141"/>
                  <a:pt x="5047" y="163"/>
                  <a:pt x="5032" y="180"/>
                </a:cubicBezTo>
                <a:cubicBezTo>
                  <a:pt x="5018" y="197"/>
                  <a:pt x="4997" y="208"/>
                  <a:pt x="4971" y="213"/>
                </a:cubicBezTo>
                <a:cubicBezTo>
                  <a:pt x="4971" y="214"/>
                  <a:pt x="4971" y="214"/>
                  <a:pt x="4971" y="214"/>
                </a:cubicBezTo>
                <a:cubicBezTo>
                  <a:pt x="4985" y="219"/>
                  <a:pt x="4999" y="236"/>
                  <a:pt x="5012" y="264"/>
                </a:cubicBezTo>
                <a:cubicBezTo>
                  <a:pt x="5064" y="377"/>
                  <a:pt x="5064" y="377"/>
                  <a:pt x="5064" y="377"/>
                </a:cubicBezTo>
                <a:lnTo>
                  <a:pt x="5037" y="377"/>
                </a:lnTo>
                <a:close/>
                <a:moveTo>
                  <a:pt x="4881" y="47"/>
                </a:moveTo>
                <a:cubicBezTo>
                  <a:pt x="4881" y="198"/>
                  <a:pt x="4881" y="198"/>
                  <a:pt x="4881" y="198"/>
                </a:cubicBezTo>
                <a:cubicBezTo>
                  <a:pt x="4942" y="198"/>
                  <a:pt x="4942" y="198"/>
                  <a:pt x="4942" y="198"/>
                </a:cubicBezTo>
                <a:cubicBezTo>
                  <a:pt x="4968" y="198"/>
                  <a:pt x="4990" y="191"/>
                  <a:pt x="5006" y="176"/>
                </a:cubicBezTo>
                <a:cubicBezTo>
                  <a:pt x="5021" y="162"/>
                  <a:pt x="5029" y="143"/>
                  <a:pt x="5029" y="119"/>
                </a:cubicBezTo>
                <a:cubicBezTo>
                  <a:pt x="5029" y="96"/>
                  <a:pt x="5022" y="79"/>
                  <a:pt x="5008" y="66"/>
                </a:cubicBezTo>
                <a:cubicBezTo>
                  <a:pt x="4994" y="53"/>
                  <a:pt x="4973" y="47"/>
                  <a:pt x="4947" y="47"/>
                </a:cubicBezTo>
                <a:lnTo>
                  <a:pt x="4881" y="47"/>
                </a:lnTo>
                <a:close/>
                <a:moveTo>
                  <a:pt x="5134" y="252"/>
                </a:moveTo>
                <a:cubicBezTo>
                  <a:pt x="5134" y="286"/>
                  <a:pt x="5142" y="313"/>
                  <a:pt x="5158" y="333"/>
                </a:cubicBezTo>
                <a:cubicBezTo>
                  <a:pt x="5174" y="352"/>
                  <a:pt x="5196" y="362"/>
                  <a:pt x="5224" y="362"/>
                </a:cubicBezTo>
                <a:cubicBezTo>
                  <a:pt x="5252" y="362"/>
                  <a:pt x="5280" y="352"/>
                  <a:pt x="5307" y="331"/>
                </a:cubicBezTo>
                <a:cubicBezTo>
                  <a:pt x="5307" y="355"/>
                  <a:pt x="5307" y="355"/>
                  <a:pt x="5307" y="355"/>
                </a:cubicBezTo>
                <a:cubicBezTo>
                  <a:pt x="5281" y="374"/>
                  <a:pt x="5251" y="383"/>
                  <a:pt x="5219" y="383"/>
                </a:cubicBezTo>
                <a:cubicBezTo>
                  <a:pt x="5187" y="383"/>
                  <a:pt x="5161" y="371"/>
                  <a:pt x="5141" y="348"/>
                </a:cubicBezTo>
                <a:cubicBezTo>
                  <a:pt x="5121" y="325"/>
                  <a:pt x="5111" y="292"/>
                  <a:pt x="5111" y="249"/>
                </a:cubicBezTo>
                <a:cubicBezTo>
                  <a:pt x="5111" y="213"/>
                  <a:pt x="5121" y="182"/>
                  <a:pt x="5142" y="157"/>
                </a:cubicBezTo>
                <a:cubicBezTo>
                  <a:pt x="5163" y="132"/>
                  <a:pt x="5190" y="119"/>
                  <a:pt x="5224" y="119"/>
                </a:cubicBezTo>
                <a:cubicBezTo>
                  <a:pt x="5255" y="119"/>
                  <a:pt x="5279" y="130"/>
                  <a:pt x="5296" y="152"/>
                </a:cubicBezTo>
                <a:cubicBezTo>
                  <a:pt x="5312" y="174"/>
                  <a:pt x="5321" y="204"/>
                  <a:pt x="5321" y="242"/>
                </a:cubicBezTo>
                <a:cubicBezTo>
                  <a:pt x="5321" y="252"/>
                  <a:pt x="5321" y="252"/>
                  <a:pt x="5321" y="252"/>
                </a:cubicBezTo>
                <a:lnTo>
                  <a:pt x="5134" y="252"/>
                </a:lnTo>
                <a:close/>
                <a:moveTo>
                  <a:pt x="5297" y="231"/>
                </a:moveTo>
                <a:cubicBezTo>
                  <a:pt x="5296" y="202"/>
                  <a:pt x="5289" y="180"/>
                  <a:pt x="5276" y="164"/>
                </a:cubicBezTo>
                <a:cubicBezTo>
                  <a:pt x="5263" y="148"/>
                  <a:pt x="5245" y="140"/>
                  <a:pt x="5223" y="140"/>
                </a:cubicBezTo>
                <a:cubicBezTo>
                  <a:pt x="5199" y="140"/>
                  <a:pt x="5179" y="148"/>
                  <a:pt x="5164" y="163"/>
                </a:cubicBezTo>
                <a:cubicBezTo>
                  <a:pt x="5148" y="179"/>
                  <a:pt x="5139" y="202"/>
                  <a:pt x="5135" y="231"/>
                </a:cubicBezTo>
                <a:lnTo>
                  <a:pt x="5297" y="231"/>
                </a:lnTo>
                <a:close/>
                <a:moveTo>
                  <a:pt x="5531" y="377"/>
                </a:moveTo>
                <a:cubicBezTo>
                  <a:pt x="5531" y="326"/>
                  <a:pt x="5531" y="326"/>
                  <a:pt x="5531" y="326"/>
                </a:cubicBezTo>
                <a:cubicBezTo>
                  <a:pt x="5530" y="326"/>
                  <a:pt x="5530" y="326"/>
                  <a:pt x="5530" y="326"/>
                </a:cubicBezTo>
                <a:cubicBezTo>
                  <a:pt x="5522" y="344"/>
                  <a:pt x="5511" y="357"/>
                  <a:pt x="5495" y="367"/>
                </a:cubicBezTo>
                <a:cubicBezTo>
                  <a:pt x="5480" y="378"/>
                  <a:pt x="5463" y="383"/>
                  <a:pt x="5444" y="383"/>
                </a:cubicBezTo>
                <a:cubicBezTo>
                  <a:pt x="5420" y="383"/>
                  <a:pt x="5402" y="376"/>
                  <a:pt x="5388" y="363"/>
                </a:cubicBezTo>
                <a:cubicBezTo>
                  <a:pt x="5374" y="349"/>
                  <a:pt x="5367" y="332"/>
                  <a:pt x="5367" y="312"/>
                </a:cubicBezTo>
                <a:cubicBezTo>
                  <a:pt x="5367" y="268"/>
                  <a:pt x="5396" y="241"/>
                  <a:pt x="5454" y="232"/>
                </a:cubicBezTo>
                <a:cubicBezTo>
                  <a:pt x="5531" y="221"/>
                  <a:pt x="5531" y="221"/>
                  <a:pt x="5531" y="221"/>
                </a:cubicBezTo>
                <a:cubicBezTo>
                  <a:pt x="5531" y="167"/>
                  <a:pt x="5511" y="140"/>
                  <a:pt x="5470" y="140"/>
                </a:cubicBezTo>
                <a:cubicBezTo>
                  <a:pt x="5443" y="140"/>
                  <a:pt x="5416" y="151"/>
                  <a:pt x="5390" y="173"/>
                </a:cubicBezTo>
                <a:cubicBezTo>
                  <a:pt x="5390" y="146"/>
                  <a:pt x="5390" y="146"/>
                  <a:pt x="5390" y="146"/>
                </a:cubicBezTo>
                <a:cubicBezTo>
                  <a:pt x="5399" y="138"/>
                  <a:pt x="5412" y="132"/>
                  <a:pt x="5428" y="127"/>
                </a:cubicBezTo>
                <a:cubicBezTo>
                  <a:pt x="5443" y="122"/>
                  <a:pt x="5458" y="119"/>
                  <a:pt x="5473" y="119"/>
                </a:cubicBezTo>
                <a:cubicBezTo>
                  <a:pt x="5498" y="119"/>
                  <a:pt x="5518" y="127"/>
                  <a:pt x="5533" y="143"/>
                </a:cubicBezTo>
                <a:cubicBezTo>
                  <a:pt x="5547" y="159"/>
                  <a:pt x="5554" y="182"/>
                  <a:pt x="5554" y="213"/>
                </a:cubicBezTo>
                <a:cubicBezTo>
                  <a:pt x="5554" y="377"/>
                  <a:pt x="5554" y="377"/>
                  <a:pt x="5554" y="377"/>
                </a:cubicBezTo>
                <a:lnTo>
                  <a:pt x="5531" y="377"/>
                </a:lnTo>
                <a:close/>
                <a:moveTo>
                  <a:pt x="5462" y="251"/>
                </a:moveTo>
                <a:cubicBezTo>
                  <a:pt x="5436" y="255"/>
                  <a:pt x="5417" y="261"/>
                  <a:pt x="5407" y="270"/>
                </a:cubicBezTo>
                <a:cubicBezTo>
                  <a:pt x="5396" y="278"/>
                  <a:pt x="5391" y="292"/>
                  <a:pt x="5391" y="311"/>
                </a:cubicBezTo>
                <a:cubicBezTo>
                  <a:pt x="5391" y="326"/>
                  <a:pt x="5395" y="338"/>
                  <a:pt x="5405" y="348"/>
                </a:cubicBezTo>
                <a:cubicBezTo>
                  <a:pt x="5415" y="357"/>
                  <a:pt x="5429" y="362"/>
                  <a:pt x="5447" y="362"/>
                </a:cubicBezTo>
                <a:cubicBezTo>
                  <a:pt x="5471" y="362"/>
                  <a:pt x="5491" y="353"/>
                  <a:pt x="5507" y="335"/>
                </a:cubicBezTo>
                <a:cubicBezTo>
                  <a:pt x="5523" y="317"/>
                  <a:pt x="5531" y="294"/>
                  <a:pt x="5531" y="266"/>
                </a:cubicBezTo>
                <a:cubicBezTo>
                  <a:pt x="5531" y="241"/>
                  <a:pt x="5531" y="241"/>
                  <a:pt x="5531" y="241"/>
                </a:cubicBezTo>
                <a:lnTo>
                  <a:pt x="5462" y="251"/>
                </a:lnTo>
                <a:close/>
                <a:moveTo>
                  <a:pt x="5806" y="377"/>
                </a:moveTo>
                <a:cubicBezTo>
                  <a:pt x="5806" y="331"/>
                  <a:pt x="5806" y="331"/>
                  <a:pt x="5806" y="331"/>
                </a:cubicBezTo>
                <a:cubicBezTo>
                  <a:pt x="5805" y="331"/>
                  <a:pt x="5805" y="331"/>
                  <a:pt x="5805" y="331"/>
                </a:cubicBezTo>
                <a:cubicBezTo>
                  <a:pt x="5797" y="347"/>
                  <a:pt x="5785" y="360"/>
                  <a:pt x="5769" y="369"/>
                </a:cubicBezTo>
                <a:cubicBezTo>
                  <a:pt x="5753" y="378"/>
                  <a:pt x="5735" y="383"/>
                  <a:pt x="5715" y="383"/>
                </a:cubicBezTo>
                <a:cubicBezTo>
                  <a:pt x="5684" y="383"/>
                  <a:pt x="5658" y="372"/>
                  <a:pt x="5639" y="349"/>
                </a:cubicBezTo>
                <a:cubicBezTo>
                  <a:pt x="5619" y="326"/>
                  <a:pt x="5609" y="295"/>
                  <a:pt x="5609" y="255"/>
                </a:cubicBezTo>
                <a:cubicBezTo>
                  <a:pt x="5609" y="215"/>
                  <a:pt x="5620" y="182"/>
                  <a:pt x="5641" y="157"/>
                </a:cubicBezTo>
                <a:cubicBezTo>
                  <a:pt x="5663" y="132"/>
                  <a:pt x="5691" y="119"/>
                  <a:pt x="5725" y="119"/>
                </a:cubicBezTo>
                <a:cubicBezTo>
                  <a:pt x="5762" y="119"/>
                  <a:pt x="5789" y="134"/>
                  <a:pt x="5805" y="165"/>
                </a:cubicBezTo>
                <a:cubicBezTo>
                  <a:pt x="5806" y="165"/>
                  <a:pt x="5806" y="165"/>
                  <a:pt x="5806" y="165"/>
                </a:cubicBezTo>
                <a:cubicBezTo>
                  <a:pt x="5806" y="4"/>
                  <a:pt x="5806" y="4"/>
                  <a:pt x="5806" y="4"/>
                </a:cubicBezTo>
                <a:cubicBezTo>
                  <a:pt x="5829" y="4"/>
                  <a:pt x="5829" y="4"/>
                  <a:pt x="5829" y="4"/>
                </a:cubicBezTo>
                <a:cubicBezTo>
                  <a:pt x="5829" y="377"/>
                  <a:pt x="5829" y="377"/>
                  <a:pt x="5829" y="377"/>
                </a:cubicBezTo>
                <a:lnTo>
                  <a:pt x="5806" y="377"/>
                </a:lnTo>
                <a:close/>
                <a:moveTo>
                  <a:pt x="5806" y="224"/>
                </a:moveTo>
                <a:cubicBezTo>
                  <a:pt x="5806" y="200"/>
                  <a:pt x="5799" y="180"/>
                  <a:pt x="5784" y="164"/>
                </a:cubicBezTo>
                <a:cubicBezTo>
                  <a:pt x="5769" y="148"/>
                  <a:pt x="5749" y="140"/>
                  <a:pt x="5724" y="140"/>
                </a:cubicBezTo>
                <a:cubicBezTo>
                  <a:pt x="5698" y="140"/>
                  <a:pt x="5676" y="150"/>
                  <a:pt x="5659" y="170"/>
                </a:cubicBezTo>
                <a:cubicBezTo>
                  <a:pt x="5642" y="190"/>
                  <a:pt x="5633" y="218"/>
                  <a:pt x="5633" y="253"/>
                </a:cubicBezTo>
                <a:cubicBezTo>
                  <a:pt x="5633" y="288"/>
                  <a:pt x="5641" y="315"/>
                  <a:pt x="5656" y="334"/>
                </a:cubicBezTo>
                <a:cubicBezTo>
                  <a:pt x="5672" y="353"/>
                  <a:pt x="5692" y="362"/>
                  <a:pt x="5716" y="362"/>
                </a:cubicBezTo>
                <a:cubicBezTo>
                  <a:pt x="5745" y="362"/>
                  <a:pt x="5767" y="353"/>
                  <a:pt x="5783" y="336"/>
                </a:cubicBezTo>
                <a:cubicBezTo>
                  <a:pt x="5798" y="318"/>
                  <a:pt x="5806" y="296"/>
                  <a:pt x="5806" y="271"/>
                </a:cubicBezTo>
                <a:lnTo>
                  <a:pt x="5806" y="224"/>
                </a:lnTo>
                <a:close/>
                <a:moveTo>
                  <a:pt x="5918" y="62"/>
                </a:moveTo>
                <a:cubicBezTo>
                  <a:pt x="5913" y="62"/>
                  <a:pt x="5909" y="60"/>
                  <a:pt x="5905" y="56"/>
                </a:cubicBezTo>
                <a:cubicBezTo>
                  <a:pt x="5902" y="53"/>
                  <a:pt x="5900" y="48"/>
                  <a:pt x="5900" y="43"/>
                </a:cubicBezTo>
                <a:cubicBezTo>
                  <a:pt x="5900" y="37"/>
                  <a:pt x="5902" y="33"/>
                  <a:pt x="5905" y="29"/>
                </a:cubicBezTo>
                <a:cubicBezTo>
                  <a:pt x="5909" y="26"/>
                  <a:pt x="5914" y="24"/>
                  <a:pt x="5918" y="24"/>
                </a:cubicBezTo>
                <a:cubicBezTo>
                  <a:pt x="5923" y="24"/>
                  <a:pt x="5928" y="26"/>
                  <a:pt x="5932" y="29"/>
                </a:cubicBezTo>
                <a:cubicBezTo>
                  <a:pt x="5936" y="33"/>
                  <a:pt x="5938" y="37"/>
                  <a:pt x="5938" y="43"/>
                </a:cubicBezTo>
                <a:cubicBezTo>
                  <a:pt x="5938" y="48"/>
                  <a:pt x="5936" y="52"/>
                  <a:pt x="5932" y="56"/>
                </a:cubicBezTo>
                <a:cubicBezTo>
                  <a:pt x="5928" y="60"/>
                  <a:pt x="5924" y="62"/>
                  <a:pt x="5918" y="62"/>
                </a:cubicBezTo>
                <a:close/>
                <a:moveTo>
                  <a:pt x="5907" y="377"/>
                </a:moveTo>
                <a:cubicBezTo>
                  <a:pt x="5907" y="125"/>
                  <a:pt x="5907" y="125"/>
                  <a:pt x="5907" y="125"/>
                </a:cubicBezTo>
                <a:cubicBezTo>
                  <a:pt x="5930" y="125"/>
                  <a:pt x="5930" y="125"/>
                  <a:pt x="5930" y="125"/>
                </a:cubicBezTo>
                <a:cubicBezTo>
                  <a:pt x="5930" y="377"/>
                  <a:pt x="5930" y="377"/>
                  <a:pt x="5930" y="377"/>
                </a:cubicBezTo>
                <a:lnTo>
                  <a:pt x="5907" y="377"/>
                </a:lnTo>
                <a:close/>
                <a:moveTo>
                  <a:pt x="6179" y="377"/>
                </a:moveTo>
                <a:cubicBezTo>
                  <a:pt x="6179" y="230"/>
                  <a:pt x="6179" y="230"/>
                  <a:pt x="6179" y="230"/>
                </a:cubicBezTo>
                <a:cubicBezTo>
                  <a:pt x="6179" y="170"/>
                  <a:pt x="6158" y="140"/>
                  <a:pt x="6114" y="140"/>
                </a:cubicBezTo>
                <a:cubicBezTo>
                  <a:pt x="6090" y="140"/>
                  <a:pt x="6070" y="149"/>
                  <a:pt x="6054" y="166"/>
                </a:cubicBezTo>
                <a:cubicBezTo>
                  <a:pt x="6039" y="184"/>
                  <a:pt x="6031" y="206"/>
                  <a:pt x="6031" y="232"/>
                </a:cubicBezTo>
                <a:cubicBezTo>
                  <a:pt x="6031" y="377"/>
                  <a:pt x="6031" y="377"/>
                  <a:pt x="6031" y="377"/>
                </a:cubicBezTo>
                <a:cubicBezTo>
                  <a:pt x="6008" y="377"/>
                  <a:pt x="6008" y="377"/>
                  <a:pt x="6008" y="377"/>
                </a:cubicBezTo>
                <a:cubicBezTo>
                  <a:pt x="6008" y="125"/>
                  <a:pt x="6008" y="125"/>
                  <a:pt x="6008" y="125"/>
                </a:cubicBezTo>
                <a:cubicBezTo>
                  <a:pt x="6031" y="125"/>
                  <a:pt x="6031" y="125"/>
                  <a:pt x="6031" y="125"/>
                </a:cubicBezTo>
                <a:cubicBezTo>
                  <a:pt x="6031" y="171"/>
                  <a:pt x="6031" y="171"/>
                  <a:pt x="6031" y="171"/>
                </a:cubicBezTo>
                <a:cubicBezTo>
                  <a:pt x="6032" y="171"/>
                  <a:pt x="6032" y="171"/>
                  <a:pt x="6032" y="171"/>
                </a:cubicBezTo>
                <a:cubicBezTo>
                  <a:pt x="6050" y="136"/>
                  <a:pt x="6079" y="119"/>
                  <a:pt x="6118" y="119"/>
                </a:cubicBezTo>
                <a:cubicBezTo>
                  <a:pt x="6145" y="119"/>
                  <a:pt x="6166" y="128"/>
                  <a:pt x="6180" y="146"/>
                </a:cubicBezTo>
                <a:cubicBezTo>
                  <a:pt x="6195" y="164"/>
                  <a:pt x="6202" y="190"/>
                  <a:pt x="6202" y="224"/>
                </a:cubicBezTo>
                <a:cubicBezTo>
                  <a:pt x="6202" y="377"/>
                  <a:pt x="6202" y="377"/>
                  <a:pt x="6202" y="377"/>
                </a:cubicBezTo>
                <a:lnTo>
                  <a:pt x="6179" y="377"/>
                </a:lnTo>
                <a:close/>
                <a:moveTo>
                  <a:pt x="6281" y="252"/>
                </a:moveTo>
                <a:cubicBezTo>
                  <a:pt x="6281" y="286"/>
                  <a:pt x="6289" y="313"/>
                  <a:pt x="6305" y="333"/>
                </a:cubicBezTo>
                <a:cubicBezTo>
                  <a:pt x="6321" y="352"/>
                  <a:pt x="6343" y="362"/>
                  <a:pt x="6371" y="362"/>
                </a:cubicBezTo>
                <a:cubicBezTo>
                  <a:pt x="6399" y="362"/>
                  <a:pt x="6426" y="352"/>
                  <a:pt x="6453" y="331"/>
                </a:cubicBezTo>
                <a:cubicBezTo>
                  <a:pt x="6453" y="355"/>
                  <a:pt x="6453" y="355"/>
                  <a:pt x="6453" y="355"/>
                </a:cubicBezTo>
                <a:cubicBezTo>
                  <a:pt x="6427" y="374"/>
                  <a:pt x="6398" y="383"/>
                  <a:pt x="6366" y="383"/>
                </a:cubicBezTo>
                <a:cubicBezTo>
                  <a:pt x="6334" y="383"/>
                  <a:pt x="6307" y="371"/>
                  <a:pt x="6287" y="348"/>
                </a:cubicBezTo>
                <a:cubicBezTo>
                  <a:pt x="6267" y="325"/>
                  <a:pt x="6258" y="292"/>
                  <a:pt x="6258" y="249"/>
                </a:cubicBezTo>
                <a:cubicBezTo>
                  <a:pt x="6258" y="213"/>
                  <a:pt x="6268" y="182"/>
                  <a:pt x="6289" y="157"/>
                </a:cubicBezTo>
                <a:cubicBezTo>
                  <a:pt x="6310" y="132"/>
                  <a:pt x="6337" y="119"/>
                  <a:pt x="6370" y="119"/>
                </a:cubicBezTo>
                <a:cubicBezTo>
                  <a:pt x="6402" y="119"/>
                  <a:pt x="6426" y="130"/>
                  <a:pt x="6442" y="152"/>
                </a:cubicBezTo>
                <a:cubicBezTo>
                  <a:pt x="6459" y="174"/>
                  <a:pt x="6467" y="204"/>
                  <a:pt x="6467" y="242"/>
                </a:cubicBezTo>
                <a:cubicBezTo>
                  <a:pt x="6467" y="252"/>
                  <a:pt x="6467" y="252"/>
                  <a:pt x="6467" y="252"/>
                </a:cubicBezTo>
                <a:lnTo>
                  <a:pt x="6281" y="252"/>
                </a:lnTo>
                <a:close/>
                <a:moveTo>
                  <a:pt x="6444" y="231"/>
                </a:moveTo>
                <a:cubicBezTo>
                  <a:pt x="6443" y="202"/>
                  <a:pt x="6436" y="180"/>
                  <a:pt x="6423" y="164"/>
                </a:cubicBezTo>
                <a:cubicBezTo>
                  <a:pt x="6410" y="148"/>
                  <a:pt x="6392" y="140"/>
                  <a:pt x="6369" y="140"/>
                </a:cubicBezTo>
                <a:cubicBezTo>
                  <a:pt x="6346" y="140"/>
                  <a:pt x="6326" y="148"/>
                  <a:pt x="6311" y="163"/>
                </a:cubicBezTo>
                <a:cubicBezTo>
                  <a:pt x="6295" y="179"/>
                  <a:pt x="6286" y="202"/>
                  <a:pt x="6282" y="231"/>
                </a:cubicBezTo>
                <a:lnTo>
                  <a:pt x="6444" y="231"/>
                </a:lnTo>
                <a:close/>
                <a:moveTo>
                  <a:pt x="6515" y="366"/>
                </a:moveTo>
                <a:cubicBezTo>
                  <a:pt x="6515" y="338"/>
                  <a:pt x="6515" y="338"/>
                  <a:pt x="6515" y="338"/>
                </a:cubicBezTo>
                <a:cubicBezTo>
                  <a:pt x="6523" y="346"/>
                  <a:pt x="6533" y="352"/>
                  <a:pt x="6546" y="356"/>
                </a:cubicBezTo>
                <a:cubicBezTo>
                  <a:pt x="6558" y="360"/>
                  <a:pt x="6568" y="362"/>
                  <a:pt x="6577" y="362"/>
                </a:cubicBezTo>
                <a:cubicBezTo>
                  <a:pt x="6617" y="362"/>
                  <a:pt x="6636" y="346"/>
                  <a:pt x="6636" y="314"/>
                </a:cubicBezTo>
                <a:cubicBezTo>
                  <a:pt x="6636" y="303"/>
                  <a:pt x="6632" y="293"/>
                  <a:pt x="6623" y="285"/>
                </a:cubicBezTo>
                <a:cubicBezTo>
                  <a:pt x="6615" y="277"/>
                  <a:pt x="6600" y="269"/>
                  <a:pt x="6581" y="261"/>
                </a:cubicBezTo>
                <a:cubicBezTo>
                  <a:pt x="6557" y="251"/>
                  <a:pt x="6540" y="240"/>
                  <a:pt x="6530" y="228"/>
                </a:cubicBezTo>
                <a:cubicBezTo>
                  <a:pt x="6521" y="217"/>
                  <a:pt x="6516" y="204"/>
                  <a:pt x="6516" y="188"/>
                </a:cubicBezTo>
                <a:cubicBezTo>
                  <a:pt x="6516" y="167"/>
                  <a:pt x="6523" y="151"/>
                  <a:pt x="6539" y="138"/>
                </a:cubicBezTo>
                <a:cubicBezTo>
                  <a:pt x="6555" y="125"/>
                  <a:pt x="6574" y="119"/>
                  <a:pt x="6597" y="119"/>
                </a:cubicBezTo>
                <a:cubicBezTo>
                  <a:pt x="6619" y="119"/>
                  <a:pt x="6637" y="123"/>
                  <a:pt x="6652" y="132"/>
                </a:cubicBezTo>
                <a:cubicBezTo>
                  <a:pt x="6652" y="158"/>
                  <a:pt x="6652" y="158"/>
                  <a:pt x="6652" y="158"/>
                </a:cubicBezTo>
                <a:cubicBezTo>
                  <a:pt x="6634" y="146"/>
                  <a:pt x="6614" y="140"/>
                  <a:pt x="6595" y="140"/>
                </a:cubicBezTo>
                <a:cubicBezTo>
                  <a:pt x="6578" y="140"/>
                  <a:pt x="6565" y="144"/>
                  <a:pt x="6554" y="153"/>
                </a:cubicBezTo>
                <a:cubicBezTo>
                  <a:pt x="6544" y="161"/>
                  <a:pt x="6539" y="172"/>
                  <a:pt x="6539" y="186"/>
                </a:cubicBezTo>
                <a:cubicBezTo>
                  <a:pt x="6539" y="198"/>
                  <a:pt x="6542" y="208"/>
                  <a:pt x="6549" y="215"/>
                </a:cubicBezTo>
                <a:cubicBezTo>
                  <a:pt x="6555" y="223"/>
                  <a:pt x="6569" y="231"/>
                  <a:pt x="6591" y="241"/>
                </a:cubicBezTo>
                <a:cubicBezTo>
                  <a:pt x="6617" y="253"/>
                  <a:pt x="6635" y="264"/>
                  <a:pt x="6645" y="274"/>
                </a:cubicBezTo>
                <a:cubicBezTo>
                  <a:pt x="6655" y="284"/>
                  <a:pt x="6660" y="297"/>
                  <a:pt x="6660" y="314"/>
                </a:cubicBezTo>
                <a:cubicBezTo>
                  <a:pt x="6660" y="334"/>
                  <a:pt x="6652" y="350"/>
                  <a:pt x="6637" y="363"/>
                </a:cubicBezTo>
                <a:cubicBezTo>
                  <a:pt x="6622" y="376"/>
                  <a:pt x="6602" y="383"/>
                  <a:pt x="6575" y="383"/>
                </a:cubicBezTo>
                <a:cubicBezTo>
                  <a:pt x="6551" y="383"/>
                  <a:pt x="6531" y="377"/>
                  <a:pt x="6515" y="366"/>
                </a:cubicBezTo>
                <a:close/>
                <a:moveTo>
                  <a:pt x="6708" y="366"/>
                </a:moveTo>
                <a:cubicBezTo>
                  <a:pt x="6708" y="338"/>
                  <a:pt x="6708" y="338"/>
                  <a:pt x="6708" y="338"/>
                </a:cubicBezTo>
                <a:cubicBezTo>
                  <a:pt x="6716" y="346"/>
                  <a:pt x="6727" y="352"/>
                  <a:pt x="6739" y="356"/>
                </a:cubicBezTo>
                <a:cubicBezTo>
                  <a:pt x="6751" y="360"/>
                  <a:pt x="6761" y="362"/>
                  <a:pt x="6770" y="362"/>
                </a:cubicBezTo>
                <a:cubicBezTo>
                  <a:pt x="6810" y="362"/>
                  <a:pt x="6830" y="346"/>
                  <a:pt x="6830" y="314"/>
                </a:cubicBezTo>
                <a:cubicBezTo>
                  <a:pt x="6830" y="303"/>
                  <a:pt x="6825" y="293"/>
                  <a:pt x="6817" y="285"/>
                </a:cubicBezTo>
                <a:cubicBezTo>
                  <a:pt x="6808" y="277"/>
                  <a:pt x="6794" y="269"/>
                  <a:pt x="6774" y="261"/>
                </a:cubicBezTo>
                <a:cubicBezTo>
                  <a:pt x="6750" y="251"/>
                  <a:pt x="6733" y="240"/>
                  <a:pt x="6724" y="228"/>
                </a:cubicBezTo>
                <a:cubicBezTo>
                  <a:pt x="6714" y="217"/>
                  <a:pt x="6709" y="204"/>
                  <a:pt x="6709" y="188"/>
                </a:cubicBezTo>
                <a:cubicBezTo>
                  <a:pt x="6709" y="167"/>
                  <a:pt x="6717" y="151"/>
                  <a:pt x="6732" y="138"/>
                </a:cubicBezTo>
                <a:cubicBezTo>
                  <a:pt x="6748" y="125"/>
                  <a:pt x="6767" y="119"/>
                  <a:pt x="6790" y="119"/>
                </a:cubicBezTo>
                <a:cubicBezTo>
                  <a:pt x="6812" y="119"/>
                  <a:pt x="6830" y="123"/>
                  <a:pt x="6846" y="132"/>
                </a:cubicBezTo>
                <a:cubicBezTo>
                  <a:pt x="6846" y="158"/>
                  <a:pt x="6846" y="158"/>
                  <a:pt x="6846" y="158"/>
                </a:cubicBezTo>
                <a:cubicBezTo>
                  <a:pt x="6827" y="146"/>
                  <a:pt x="6808" y="140"/>
                  <a:pt x="6788" y="140"/>
                </a:cubicBezTo>
                <a:cubicBezTo>
                  <a:pt x="6771" y="140"/>
                  <a:pt x="6758" y="144"/>
                  <a:pt x="6748" y="153"/>
                </a:cubicBezTo>
                <a:cubicBezTo>
                  <a:pt x="6738" y="161"/>
                  <a:pt x="6733" y="172"/>
                  <a:pt x="6733" y="186"/>
                </a:cubicBezTo>
                <a:cubicBezTo>
                  <a:pt x="6733" y="198"/>
                  <a:pt x="6736" y="208"/>
                  <a:pt x="6742" y="215"/>
                </a:cubicBezTo>
                <a:cubicBezTo>
                  <a:pt x="6748" y="223"/>
                  <a:pt x="6763" y="231"/>
                  <a:pt x="6784" y="241"/>
                </a:cubicBezTo>
                <a:cubicBezTo>
                  <a:pt x="6811" y="253"/>
                  <a:pt x="6829" y="264"/>
                  <a:pt x="6838" y="274"/>
                </a:cubicBezTo>
                <a:cubicBezTo>
                  <a:pt x="6848" y="284"/>
                  <a:pt x="6853" y="297"/>
                  <a:pt x="6853" y="314"/>
                </a:cubicBezTo>
                <a:cubicBezTo>
                  <a:pt x="6853" y="334"/>
                  <a:pt x="6846" y="350"/>
                  <a:pt x="6831" y="363"/>
                </a:cubicBezTo>
                <a:cubicBezTo>
                  <a:pt x="6816" y="376"/>
                  <a:pt x="6795" y="383"/>
                  <a:pt x="6769" y="383"/>
                </a:cubicBezTo>
                <a:cubicBezTo>
                  <a:pt x="6744" y="383"/>
                  <a:pt x="6724" y="377"/>
                  <a:pt x="6708" y="366"/>
                </a:cubicBezTo>
                <a:close/>
                <a:moveTo>
                  <a:pt x="3745" y="272"/>
                </a:moveTo>
                <a:cubicBezTo>
                  <a:pt x="3745" y="298"/>
                  <a:pt x="3737" y="319"/>
                  <a:pt x="3720" y="337"/>
                </a:cubicBezTo>
                <a:cubicBezTo>
                  <a:pt x="3704" y="354"/>
                  <a:pt x="3683" y="362"/>
                  <a:pt x="3657" y="362"/>
                </a:cubicBezTo>
                <a:cubicBezTo>
                  <a:pt x="3631" y="362"/>
                  <a:pt x="3611" y="352"/>
                  <a:pt x="3596" y="333"/>
                </a:cubicBezTo>
                <a:cubicBezTo>
                  <a:pt x="3581" y="313"/>
                  <a:pt x="3573" y="287"/>
                  <a:pt x="3573" y="253"/>
                </a:cubicBezTo>
                <a:cubicBezTo>
                  <a:pt x="3573" y="219"/>
                  <a:pt x="3582" y="192"/>
                  <a:pt x="3598" y="171"/>
                </a:cubicBezTo>
                <a:cubicBezTo>
                  <a:pt x="3615" y="150"/>
                  <a:pt x="3637" y="140"/>
                  <a:pt x="3665" y="140"/>
                </a:cubicBezTo>
                <a:cubicBezTo>
                  <a:pt x="3688" y="140"/>
                  <a:pt x="3707" y="148"/>
                  <a:pt x="3722" y="163"/>
                </a:cubicBezTo>
                <a:cubicBezTo>
                  <a:pt x="3737" y="179"/>
                  <a:pt x="3745" y="199"/>
                  <a:pt x="3745" y="222"/>
                </a:cubicBezTo>
                <a:cubicBezTo>
                  <a:pt x="3745" y="272"/>
                  <a:pt x="3745" y="272"/>
                  <a:pt x="3745" y="272"/>
                </a:cubicBezTo>
                <a:cubicBezTo>
                  <a:pt x="3745" y="272"/>
                  <a:pt x="3745" y="272"/>
                  <a:pt x="3745" y="272"/>
                </a:cubicBezTo>
                <a:close/>
                <a:moveTo>
                  <a:pt x="3767" y="125"/>
                </a:moveTo>
                <a:cubicBezTo>
                  <a:pt x="3745" y="125"/>
                  <a:pt x="3745" y="125"/>
                  <a:pt x="3745" y="125"/>
                </a:cubicBezTo>
                <a:cubicBezTo>
                  <a:pt x="3745" y="165"/>
                  <a:pt x="3745" y="165"/>
                  <a:pt x="3745" y="165"/>
                </a:cubicBezTo>
                <a:cubicBezTo>
                  <a:pt x="3744" y="165"/>
                  <a:pt x="3744" y="165"/>
                  <a:pt x="3744" y="165"/>
                </a:cubicBezTo>
                <a:cubicBezTo>
                  <a:pt x="3728" y="134"/>
                  <a:pt x="3701" y="119"/>
                  <a:pt x="3664" y="119"/>
                </a:cubicBezTo>
                <a:cubicBezTo>
                  <a:pt x="3642" y="119"/>
                  <a:pt x="3622" y="125"/>
                  <a:pt x="3605" y="136"/>
                </a:cubicBezTo>
                <a:cubicBezTo>
                  <a:pt x="3587" y="148"/>
                  <a:pt x="3574" y="164"/>
                  <a:pt x="3564" y="185"/>
                </a:cubicBezTo>
                <a:cubicBezTo>
                  <a:pt x="3555" y="206"/>
                  <a:pt x="3550" y="229"/>
                  <a:pt x="3550" y="255"/>
                </a:cubicBezTo>
                <a:cubicBezTo>
                  <a:pt x="3550" y="294"/>
                  <a:pt x="3560" y="325"/>
                  <a:pt x="3578" y="348"/>
                </a:cubicBezTo>
                <a:cubicBezTo>
                  <a:pt x="3597" y="371"/>
                  <a:pt x="3623" y="383"/>
                  <a:pt x="3654" y="383"/>
                </a:cubicBezTo>
                <a:cubicBezTo>
                  <a:pt x="3694" y="383"/>
                  <a:pt x="3724" y="366"/>
                  <a:pt x="3744" y="331"/>
                </a:cubicBezTo>
                <a:cubicBezTo>
                  <a:pt x="3745" y="331"/>
                  <a:pt x="3745" y="331"/>
                  <a:pt x="3745" y="331"/>
                </a:cubicBezTo>
                <a:cubicBezTo>
                  <a:pt x="3745" y="364"/>
                  <a:pt x="3745" y="364"/>
                  <a:pt x="3745" y="364"/>
                </a:cubicBezTo>
                <a:cubicBezTo>
                  <a:pt x="3745" y="438"/>
                  <a:pt x="3711" y="474"/>
                  <a:pt x="3642" y="474"/>
                </a:cubicBezTo>
                <a:cubicBezTo>
                  <a:pt x="3618" y="474"/>
                  <a:pt x="3593" y="467"/>
                  <a:pt x="3567" y="452"/>
                </a:cubicBezTo>
                <a:cubicBezTo>
                  <a:pt x="3567" y="476"/>
                  <a:pt x="3567" y="476"/>
                  <a:pt x="3567" y="476"/>
                </a:cubicBezTo>
                <a:cubicBezTo>
                  <a:pt x="3593" y="488"/>
                  <a:pt x="3617" y="495"/>
                  <a:pt x="3641" y="495"/>
                </a:cubicBezTo>
                <a:cubicBezTo>
                  <a:pt x="3685" y="495"/>
                  <a:pt x="3717" y="484"/>
                  <a:pt x="3737" y="462"/>
                </a:cubicBezTo>
                <a:cubicBezTo>
                  <a:pt x="3757" y="440"/>
                  <a:pt x="3767" y="405"/>
                  <a:pt x="3767" y="358"/>
                </a:cubicBezTo>
                <a:cubicBezTo>
                  <a:pt x="3767" y="125"/>
                  <a:pt x="3767" y="125"/>
                  <a:pt x="3767" y="125"/>
                </a:cubicBezTo>
                <a:cubicBezTo>
                  <a:pt x="3767" y="125"/>
                  <a:pt x="3767" y="125"/>
                  <a:pt x="3767" y="125"/>
                </a:cubicBezTo>
                <a:close/>
                <a:moveTo>
                  <a:pt x="3493" y="377"/>
                </a:moveTo>
                <a:cubicBezTo>
                  <a:pt x="3493" y="224"/>
                  <a:pt x="3493" y="224"/>
                  <a:pt x="3493" y="224"/>
                </a:cubicBezTo>
                <a:cubicBezTo>
                  <a:pt x="3493" y="190"/>
                  <a:pt x="3486" y="164"/>
                  <a:pt x="3472" y="146"/>
                </a:cubicBezTo>
                <a:cubicBezTo>
                  <a:pt x="3458" y="128"/>
                  <a:pt x="3437" y="119"/>
                  <a:pt x="3410" y="119"/>
                </a:cubicBezTo>
                <a:cubicBezTo>
                  <a:pt x="3371" y="119"/>
                  <a:pt x="3343" y="136"/>
                  <a:pt x="3325" y="171"/>
                </a:cubicBezTo>
                <a:cubicBezTo>
                  <a:pt x="3324" y="171"/>
                  <a:pt x="3324" y="171"/>
                  <a:pt x="3324" y="171"/>
                </a:cubicBezTo>
                <a:cubicBezTo>
                  <a:pt x="3324" y="125"/>
                  <a:pt x="3324" y="125"/>
                  <a:pt x="3324" y="125"/>
                </a:cubicBezTo>
                <a:cubicBezTo>
                  <a:pt x="3301" y="125"/>
                  <a:pt x="3301" y="125"/>
                  <a:pt x="3301" y="125"/>
                </a:cubicBezTo>
                <a:cubicBezTo>
                  <a:pt x="3301" y="377"/>
                  <a:pt x="3301" y="377"/>
                  <a:pt x="3301" y="377"/>
                </a:cubicBezTo>
                <a:cubicBezTo>
                  <a:pt x="3324" y="377"/>
                  <a:pt x="3324" y="377"/>
                  <a:pt x="3324" y="377"/>
                </a:cubicBezTo>
                <a:cubicBezTo>
                  <a:pt x="3324" y="232"/>
                  <a:pt x="3324" y="232"/>
                  <a:pt x="3324" y="232"/>
                </a:cubicBezTo>
                <a:cubicBezTo>
                  <a:pt x="3324" y="206"/>
                  <a:pt x="3331" y="184"/>
                  <a:pt x="3347" y="166"/>
                </a:cubicBezTo>
                <a:cubicBezTo>
                  <a:pt x="3363" y="149"/>
                  <a:pt x="3382" y="140"/>
                  <a:pt x="3406" y="140"/>
                </a:cubicBezTo>
                <a:cubicBezTo>
                  <a:pt x="3449" y="140"/>
                  <a:pt x="3471" y="170"/>
                  <a:pt x="3471" y="230"/>
                </a:cubicBezTo>
                <a:cubicBezTo>
                  <a:pt x="3471" y="377"/>
                  <a:pt x="3471" y="377"/>
                  <a:pt x="3471" y="377"/>
                </a:cubicBezTo>
                <a:cubicBezTo>
                  <a:pt x="3493" y="377"/>
                  <a:pt x="3493" y="377"/>
                  <a:pt x="3493" y="377"/>
                </a:cubicBezTo>
                <a:cubicBezTo>
                  <a:pt x="3493" y="377"/>
                  <a:pt x="3493" y="377"/>
                  <a:pt x="3493" y="377"/>
                </a:cubicBezTo>
                <a:close/>
                <a:moveTo>
                  <a:pt x="3221" y="125"/>
                </a:moveTo>
                <a:cubicBezTo>
                  <a:pt x="3199" y="125"/>
                  <a:pt x="3199" y="125"/>
                  <a:pt x="3199" y="125"/>
                </a:cubicBezTo>
                <a:cubicBezTo>
                  <a:pt x="3199" y="377"/>
                  <a:pt x="3199" y="377"/>
                  <a:pt x="3199" y="377"/>
                </a:cubicBezTo>
                <a:cubicBezTo>
                  <a:pt x="3221" y="377"/>
                  <a:pt x="3221" y="377"/>
                  <a:pt x="3221" y="377"/>
                </a:cubicBezTo>
                <a:cubicBezTo>
                  <a:pt x="3221" y="125"/>
                  <a:pt x="3221" y="125"/>
                  <a:pt x="3221" y="125"/>
                </a:cubicBezTo>
                <a:cubicBezTo>
                  <a:pt x="3221" y="125"/>
                  <a:pt x="3221" y="125"/>
                  <a:pt x="3221" y="125"/>
                </a:cubicBezTo>
                <a:close/>
                <a:moveTo>
                  <a:pt x="3223" y="56"/>
                </a:moveTo>
                <a:cubicBezTo>
                  <a:pt x="3227" y="52"/>
                  <a:pt x="3229" y="48"/>
                  <a:pt x="3229" y="43"/>
                </a:cubicBezTo>
                <a:cubicBezTo>
                  <a:pt x="3229" y="37"/>
                  <a:pt x="3227" y="33"/>
                  <a:pt x="3223" y="29"/>
                </a:cubicBezTo>
                <a:cubicBezTo>
                  <a:pt x="3219" y="26"/>
                  <a:pt x="3215" y="24"/>
                  <a:pt x="3210" y="24"/>
                </a:cubicBezTo>
                <a:cubicBezTo>
                  <a:pt x="3205" y="24"/>
                  <a:pt x="3201" y="26"/>
                  <a:pt x="3197" y="29"/>
                </a:cubicBezTo>
                <a:cubicBezTo>
                  <a:pt x="3193" y="33"/>
                  <a:pt x="3191" y="37"/>
                  <a:pt x="3191" y="43"/>
                </a:cubicBezTo>
                <a:cubicBezTo>
                  <a:pt x="3191" y="48"/>
                  <a:pt x="3193" y="53"/>
                  <a:pt x="3197" y="56"/>
                </a:cubicBezTo>
                <a:cubicBezTo>
                  <a:pt x="3201" y="60"/>
                  <a:pt x="3205" y="62"/>
                  <a:pt x="3210" y="62"/>
                </a:cubicBezTo>
                <a:cubicBezTo>
                  <a:pt x="3215" y="62"/>
                  <a:pt x="3220" y="60"/>
                  <a:pt x="3223" y="56"/>
                </a:cubicBezTo>
                <a:moveTo>
                  <a:pt x="3124" y="377"/>
                </a:moveTo>
                <a:cubicBezTo>
                  <a:pt x="3124" y="224"/>
                  <a:pt x="3124" y="224"/>
                  <a:pt x="3124" y="224"/>
                </a:cubicBezTo>
                <a:cubicBezTo>
                  <a:pt x="3124" y="190"/>
                  <a:pt x="3117" y="164"/>
                  <a:pt x="3103" y="146"/>
                </a:cubicBezTo>
                <a:cubicBezTo>
                  <a:pt x="3089" y="128"/>
                  <a:pt x="3068" y="119"/>
                  <a:pt x="3041" y="119"/>
                </a:cubicBezTo>
                <a:cubicBezTo>
                  <a:pt x="3002" y="119"/>
                  <a:pt x="2974" y="136"/>
                  <a:pt x="2956" y="171"/>
                </a:cubicBezTo>
                <a:cubicBezTo>
                  <a:pt x="2955" y="171"/>
                  <a:pt x="2955" y="171"/>
                  <a:pt x="2955" y="171"/>
                </a:cubicBezTo>
                <a:cubicBezTo>
                  <a:pt x="2955" y="125"/>
                  <a:pt x="2955" y="125"/>
                  <a:pt x="2955" y="125"/>
                </a:cubicBezTo>
                <a:cubicBezTo>
                  <a:pt x="2932" y="125"/>
                  <a:pt x="2932" y="125"/>
                  <a:pt x="2932" y="125"/>
                </a:cubicBezTo>
                <a:cubicBezTo>
                  <a:pt x="2932" y="377"/>
                  <a:pt x="2932" y="377"/>
                  <a:pt x="2932" y="377"/>
                </a:cubicBezTo>
                <a:cubicBezTo>
                  <a:pt x="2955" y="377"/>
                  <a:pt x="2955" y="377"/>
                  <a:pt x="2955" y="377"/>
                </a:cubicBezTo>
                <a:cubicBezTo>
                  <a:pt x="2955" y="232"/>
                  <a:pt x="2955" y="232"/>
                  <a:pt x="2955" y="232"/>
                </a:cubicBezTo>
                <a:cubicBezTo>
                  <a:pt x="2955" y="206"/>
                  <a:pt x="2962" y="184"/>
                  <a:pt x="2978" y="166"/>
                </a:cubicBezTo>
                <a:cubicBezTo>
                  <a:pt x="2994" y="149"/>
                  <a:pt x="3013" y="140"/>
                  <a:pt x="3037" y="140"/>
                </a:cubicBezTo>
                <a:cubicBezTo>
                  <a:pt x="3080" y="140"/>
                  <a:pt x="3102" y="170"/>
                  <a:pt x="3102" y="230"/>
                </a:cubicBezTo>
                <a:cubicBezTo>
                  <a:pt x="3102" y="377"/>
                  <a:pt x="3102" y="377"/>
                  <a:pt x="3102" y="377"/>
                </a:cubicBezTo>
                <a:cubicBezTo>
                  <a:pt x="3124" y="377"/>
                  <a:pt x="3124" y="377"/>
                  <a:pt x="3124" y="377"/>
                </a:cubicBezTo>
                <a:cubicBezTo>
                  <a:pt x="3124" y="377"/>
                  <a:pt x="3124" y="377"/>
                  <a:pt x="3124" y="377"/>
                </a:cubicBezTo>
                <a:close/>
                <a:moveTo>
                  <a:pt x="2887" y="125"/>
                </a:moveTo>
                <a:cubicBezTo>
                  <a:pt x="2879" y="122"/>
                  <a:pt x="2871" y="120"/>
                  <a:pt x="2862" y="120"/>
                </a:cubicBezTo>
                <a:cubicBezTo>
                  <a:pt x="2846" y="120"/>
                  <a:pt x="2831" y="126"/>
                  <a:pt x="2819" y="136"/>
                </a:cubicBezTo>
                <a:cubicBezTo>
                  <a:pt x="2807" y="147"/>
                  <a:pt x="2798" y="162"/>
                  <a:pt x="2792" y="181"/>
                </a:cubicBezTo>
                <a:cubicBezTo>
                  <a:pt x="2791" y="181"/>
                  <a:pt x="2791" y="181"/>
                  <a:pt x="2791" y="181"/>
                </a:cubicBezTo>
                <a:cubicBezTo>
                  <a:pt x="2791" y="125"/>
                  <a:pt x="2791" y="125"/>
                  <a:pt x="2791" y="125"/>
                </a:cubicBezTo>
                <a:cubicBezTo>
                  <a:pt x="2769" y="125"/>
                  <a:pt x="2769" y="125"/>
                  <a:pt x="2769" y="125"/>
                </a:cubicBezTo>
                <a:cubicBezTo>
                  <a:pt x="2769" y="377"/>
                  <a:pt x="2769" y="377"/>
                  <a:pt x="2769" y="377"/>
                </a:cubicBezTo>
                <a:cubicBezTo>
                  <a:pt x="2791" y="377"/>
                  <a:pt x="2791" y="377"/>
                  <a:pt x="2791" y="377"/>
                </a:cubicBezTo>
                <a:cubicBezTo>
                  <a:pt x="2791" y="259"/>
                  <a:pt x="2791" y="259"/>
                  <a:pt x="2791" y="259"/>
                </a:cubicBezTo>
                <a:cubicBezTo>
                  <a:pt x="2791" y="235"/>
                  <a:pt x="2794" y="214"/>
                  <a:pt x="2800" y="196"/>
                </a:cubicBezTo>
                <a:cubicBezTo>
                  <a:pt x="2806" y="178"/>
                  <a:pt x="2814" y="164"/>
                  <a:pt x="2825" y="155"/>
                </a:cubicBezTo>
                <a:cubicBezTo>
                  <a:pt x="2835" y="145"/>
                  <a:pt x="2847" y="141"/>
                  <a:pt x="2860" y="141"/>
                </a:cubicBezTo>
                <a:cubicBezTo>
                  <a:pt x="2870" y="141"/>
                  <a:pt x="2879" y="143"/>
                  <a:pt x="2887" y="149"/>
                </a:cubicBezTo>
                <a:cubicBezTo>
                  <a:pt x="2887" y="125"/>
                  <a:pt x="2887" y="125"/>
                  <a:pt x="2887" y="125"/>
                </a:cubicBezTo>
                <a:cubicBezTo>
                  <a:pt x="2887" y="125"/>
                  <a:pt x="2887" y="125"/>
                  <a:pt x="2887" y="125"/>
                </a:cubicBezTo>
                <a:close/>
                <a:moveTo>
                  <a:pt x="2547" y="271"/>
                </a:moveTo>
                <a:cubicBezTo>
                  <a:pt x="2557" y="262"/>
                  <a:pt x="2575" y="256"/>
                  <a:pt x="2603" y="251"/>
                </a:cubicBezTo>
                <a:cubicBezTo>
                  <a:pt x="2672" y="241"/>
                  <a:pt x="2672" y="241"/>
                  <a:pt x="2672" y="241"/>
                </a:cubicBezTo>
                <a:cubicBezTo>
                  <a:pt x="2672" y="266"/>
                  <a:pt x="2672" y="266"/>
                  <a:pt x="2672" y="266"/>
                </a:cubicBezTo>
                <a:cubicBezTo>
                  <a:pt x="2672" y="294"/>
                  <a:pt x="2664" y="317"/>
                  <a:pt x="2648" y="335"/>
                </a:cubicBezTo>
                <a:cubicBezTo>
                  <a:pt x="2632" y="353"/>
                  <a:pt x="2612" y="362"/>
                  <a:pt x="2588" y="362"/>
                </a:cubicBezTo>
                <a:cubicBezTo>
                  <a:pt x="2571" y="362"/>
                  <a:pt x="2557" y="357"/>
                  <a:pt x="2547" y="348"/>
                </a:cubicBezTo>
                <a:cubicBezTo>
                  <a:pt x="2537" y="339"/>
                  <a:pt x="2532" y="327"/>
                  <a:pt x="2532" y="311"/>
                </a:cubicBezTo>
                <a:cubicBezTo>
                  <a:pt x="2532" y="293"/>
                  <a:pt x="2537" y="279"/>
                  <a:pt x="2547" y="271"/>
                </a:cubicBezTo>
                <a:moveTo>
                  <a:pt x="2694" y="377"/>
                </a:moveTo>
                <a:cubicBezTo>
                  <a:pt x="2694" y="213"/>
                  <a:pt x="2694" y="213"/>
                  <a:pt x="2694" y="213"/>
                </a:cubicBezTo>
                <a:cubicBezTo>
                  <a:pt x="2694" y="182"/>
                  <a:pt x="2687" y="159"/>
                  <a:pt x="2673" y="143"/>
                </a:cubicBezTo>
                <a:cubicBezTo>
                  <a:pt x="2659" y="127"/>
                  <a:pt x="2639" y="119"/>
                  <a:pt x="2613" y="119"/>
                </a:cubicBezTo>
                <a:cubicBezTo>
                  <a:pt x="2600" y="119"/>
                  <a:pt x="2586" y="122"/>
                  <a:pt x="2569" y="127"/>
                </a:cubicBezTo>
                <a:cubicBezTo>
                  <a:pt x="2553" y="132"/>
                  <a:pt x="2540" y="139"/>
                  <a:pt x="2531" y="146"/>
                </a:cubicBezTo>
                <a:cubicBezTo>
                  <a:pt x="2531" y="173"/>
                  <a:pt x="2531" y="173"/>
                  <a:pt x="2531" y="173"/>
                </a:cubicBezTo>
                <a:cubicBezTo>
                  <a:pt x="2557" y="151"/>
                  <a:pt x="2584" y="140"/>
                  <a:pt x="2611" y="140"/>
                </a:cubicBezTo>
                <a:cubicBezTo>
                  <a:pt x="2652" y="140"/>
                  <a:pt x="2672" y="167"/>
                  <a:pt x="2672" y="221"/>
                </a:cubicBezTo>
                <a:cubicBezTo>
                  <a:pt x="2595" y="232"/>
                  <a:pt x="2595" y="232"/>
                  <a:pt x="2595" y="232"/>
                </a:cubicBezTo>
                <a:cubicBezTo>
                  <a:pt x="2537" y="241"/>
                  <a:pt x="2509" y="268"/>
                  <a:pt x="2509" y="312"/>
                </a:cubicBezTo>
                <a:cubicBezTo>
                  <a:pt x="2509" y="333"/>
                  <a:pt x="2516" y="350"/>
                  <a:pt x="2530" y="363"/>
                </a:cubicBezTo>
                <a:cubicBezTo>
                  <a:pt x="2544" y="376"/>
                  <a:pt x="2563" y="383"/>
                  <a:pt x="2585" y="383"/>
                </a:cubicBezTo>
                <a:cubicBezTo>
                  <a:pt x="2604" y="383"/>
                  <a:pt x="2620" y="378"/>
                  <a:pt x="2636" y="367"/>
                </a:cubicBezTo>
                <a:cubicBezTo>
                  <a:pt x="2651" y="357"/>
                  <a:pt x="2663" y="343"/>
                  <a:pt x="2671" y="326"/>
                </a:cubicBezTo>
                <a:cubicBezTo>
                  <a:pt x="2672" y="326"/>
                  <a:pt x="2672" y="326"/>
                  <a:pt x="2672" y="326"/>
                </a:cubicBezTo>
                <a:cubicBezTo>
                  <a:pt x="2672" y="377"/>
                  <a:pt x="2672" y="377"/>
                  <a:pt x="2672" y="377"/>
                </a:cubicBezTo>
                <a:cubicBezTo>
                  <a:pt x="2694" y="377"/>
                  <a:pt x="2694" y="377"/>
                  <a:pt x="2694" y="377"/>
                </a:cubicBezTo>
                <a:cubicBezTo>
                  <a:pt x="2694" y="377"/>
                  <a:pt x="2694" y="377"/>
                  <a:pt x="2694" y="377"/>
                </a:cubicBezTo>
                <a:close/>
                <a:moveTo>
                  <a:pt x="2277" y="231"/>
                </a:moveTo>
                <a:cubicBezTo>
                  <a:pt x="2281" y="202"/>
                  <a:pt x="2290" y="179"/>
                  <a:pt x="2306" y="163"/>
                </a:cubicBezTo>
                <a:cubicBezTo>
                  <a:pt x="2321" y="148"/>
                  <a:pt x="2340" y="140"/>
                  <a:pt x="2364" y="140"/>
                </a:cubicBezTo>
                <a:cubicBezTo>
                  <a:pt x="2386" y="140"/>
                  <a:pt x="2404" y="148"/>
                  <a:pt x="2417" y="163"/>
                </a:cubicBezTo>
                <a:cubicBezTo>
                  <a:pt x="2430" y="180"/>
                  <a:pt x="2437" y="202"/>
                  <a:pt x="2438" y="231"/>
                </a:cubicBezTo>
                <a:cubicBezTo>
                  <a:pt x="2277" y="231"/>
                  <a:pt x="2277" y="231"/>
                  <a:pt x="2277" y="231"/>
                </a:cubicBezTo>
                <a:cubicBezTo>
                  <a:pt x="2277" y="231"/>
                  <a:pt x="2277" y="231"/>
                  <a:pt x="2277" y="231"/>
                </a:cubicBezTo>
                <a:close/>
                <a:moveTo>
                  <a:pt x="2461" y="252"/>
                </a:moveTo>
                <a:cubicBezTo>
                  <a:pt x="2461" y="242"/>
                  <a:pt x="2461" y="242"/>
                  <a:pt x="2461" y="242"/>
                </a:cubicBezTo>
                <a:cubicBezTo>
                  <a:pt x="2461" y="203"/>
                  <a:pt x="2452" y="173"/>
                  <a:pt x="2436" y="151"/>
                </a:cubicBezTo>
                <a:cubicBezTo>
                  <a:pt x="2419" y="130"/>
                  <a:pt x="2395" y="119"/>
                  <a:pt x="2365" y="119"/>
                </a:cubicBezTo>
                <a:cubicBezTo>
                  <a:pt x="2344" y="119"/>
                  <a:pt x="2325" y="125"/>
                  <a:pt x="2308" y="136"/>
                </a:cubicBezTo>
                <a:cubicBezTo>
                  <a:pt x="2291" y="147"/>
                  <a:pt x="2277" y="163"/>
                  <a:pt x="2267" y="183"/>
                </a:cubicBezTo>
                <a:cubicBezTo>
                  <a:pt x="2258" y="203"/>
                  <a:pt x="2253" y="225"/>
                  <a:pt x="2253" y="249"/>
                </a:cubicBezTo>
                <a:cubicBezTo>
                  <a:pt x="2253" y="291"/>
                  <a:pt x="2263" y="323"/>
                  <a:pt x="2282" y="347"/>
                </a:cubicBezTo>
                <a:cubicBezTo>
                  <a:pt x="2302" y="371"/>
                  <a:pt x="2328" y="383"/>
                  <a:pt x="2361" y="383"/>
                </a:cubicBezTo>
                <a:cubicBezTo>
                  <a:pt x="2392" y="383"/>
                  <a:pt x="2421" y="374"/>
                  <a:pt x="2447" y="355"/>
                </a:cubicBezTo>
                <a:cubicBezTo>
                  <a:pt x="2447" y="331"/>
                  <a:pt x="2447" y="331"/>
                  <a:pt x="2447" y="331"/>
                </a:cubicBezTo>
                <a:cubicBezTo>
                  <a:pt x="2420" y="352"/>
                  <a:pt x="2393" y="362"/>
                  <a:pt x="2365" y="362"/>
                </a:cubicBezTo>
                <a:cubicBezTo>
                  <a:pt x="2338" y="362"/>
                  <a:pt x="2316" y="352"/>
                  <a:pt x="2300" y="333"/>
                </a:cubicBezTo>
                <a:cubicBezTo>
                  <a:pt x="2284" y="314"/>
                  <a:pt x="2276" y="287"/>
                  <a:pt x="2276" y="252"/>
                </a:cubicBezTo>
                <a:cubicBezTo>
                  <a:pt x="2461" y="252"/>
                  <a:pt x="2461" y="252"/>
                  <a:pt x="2461" y="252"/>
                </a:cubicBezTo>
                <a:cubicBezTo>
                  <a:pt x="2461" y="252"/>
                  <a:pt x="2461" y="252"/>
                  <a:pt x="2461" y="252"/>
                </a:cubicBezTo>
                <a:close/>
                <a:moveTo>
                  <a:pt x="2212" y="377"/>
                </a:moveTo>
                <a:cubicBezTo>
                  <a:pt x="2212" y="355"/>
                  <a:pt x="2212" y="355"/>
                  <a:pt x="2212" y="355"/>
                </a:cubicBezTo>
                <a:cubicBezTo>
                  <a:pt x="2072" y="355"/>
                  <a:pt x="2072" y="355"/>
                  <a:pt x="2072" y="355"/>
                </a:cubicBezTo>
                <a:cubicBezTo>
                  <a:pt x="2072" y="24"/>
                  <a:pt x="2072" y="24"/>
                  <a:pt x="2072" y="24"/>
                </a:cubicBezTo>
                <a:cubicBezTo>
                  <a:pt x="2047" y="24"/>
                  <a:pt x="2047" y="24"/>
                  <a:pt x="2047" y="24"/>
                </a:cubicBezTo>
                <a:cubicBezTo>
                  <a:pt x="2047" y="377"/>
                  <a:pt x="2047" y="377"/>
                  <a:pt x="2047" y="377"/>
                </a:cubicBezTo>
                <a:cubicBezTo>
                  <a:pt x="2212" y="377"/>
                  <a:pt x="2212" y="377"/>
                  <a:pt x="2212" y="377"/>
                </a:cubicBezTo>
                <a:cubicBezTo>
                  <a:pt x="2212" y="377"/>
                  <a:pt x="2212" y="377"/>
                  <a:pt x="2212" y="377"/>
                </a:cubicBezTo>
                <a:close/>
                <a:moveTo>
                  <a:pt x="1877" y="352"/>
                </a:moveTo>
                <a:cubicBezTo>
                  <a:pt x="1867" y="358"/>
                  <a:pt x="1857" y="361"/>
                  <a:pt x="1847" y="361"/>
                </a:cubicBezTo>
                <a:cubicBezTo>
                  <a:pt x="1834" y="361"/>
                  <a:pt x="1825" y="357"/>
                  <a:pt x="1820" y="350"/>
                </a:cubicBezTo>
                <a:cubicBezTo>
                  <a:pt x="1814" y="342"/>
                  <a:pt x="1811" y="329"/>
                  <a:pt x="1811" y="312"/>
                </a:cubicBezTo>
                <a:cubicBezTo>
                  <a:pt x="1811" y="146"/>
                  <a:pt x="1811" y="146"/>
                  <a:pt x="1811" y="146"/>
                </a:cubicBezTo>
                <a:cubicBezTo>
                  <a:pt x="1877" y="146"/>
                  <a:pt x="1877" y="146"/>
                  <a:pt x="1877" y="146"/>
                </a:cubicBezTo>
                <a:cubicBezTo>
                  <a:pt x="1877" y="125"/>
                  <a:pt x="1877" y="125"/>
                  <a:pt x="1877" y="125"/>
                </a:cubicBezTo>
                <a:cubicBezTo>
                  <a:pt x="1811" y="125"/>
                  <a:pt x="1811" y="125"/>
                  <a:pt x="1811" y="125"/>
                </a:cubicBezTo>
                <a:cubicBezTo>
                  <a:pt x="1811" y="52"/>
                  <a:pt x="1811" y="52"/>
                  <a:pt x="1811" y="52"/>
                </a:cubicBezTo>
                <a:cubicBezTo>
                  <a:pt x="1789" y="60"/>
                  <a:pt x="1789" y="60"/>
                  <a:pt x="1789" y="60"/>
                </a:cubicBezTo>
                <a:cubicBezTo>
                  <a:pt x="1789" y="125"/>
                  <a:pt x="1789" y="125"/>
                  <a:pt x="1789" y="125"/>
                </a:cubicBezTo>
                <a:cubicBezTo>
                  <a:pt x="1744" y="125"/>
                  <a:pt x="1744" y="125"/>
                  <a:pt x="1744" y="125"/>
                </a:cubicBezTo>
                <a:cubicBezTo>
                  <a:pt x="1744" y="146"/>
                  <a:pt x="1744" y="146"/>
                  <a:pt x="1744" y="146"/>
                </a:cubicBezTo>
                <a:cubicBezTo>
                  <a:pt x="1789" y="146"/>
                  <a:pt x="1789" y="146"/>
                  <a:pt x="1789" y="146"/>
                </a:cubicBezTo>
                <a:cubicBezTo>
                  <a:pt x="1789" y="315"/>
                  <a:pt x="1789" y="315"/>
                  <a:pt x="1789" y="315"/>
                </a:cubicBezTo>
                <a:cubicBezTo>
                  <a:pt x="1789" y="359"/>
                  <a:pt x="1807" y="382"/>
                  <a:pt x="1844" y="382"/>
                </a:cubicBezTo>
                <a:cubicBezTo>
                  <a:pt x="1855" y="382"/>
                  <a:pt x="1866" y="379"/>
                  <a:pt x="1877" y="373"/>
                </a:cubicBezTo>
                <a:cubicBezTo>
                  <a:pt x="1877" y="352"/>
                  <a:pt x="1877" y="352"/>
                  <a:pt x="1877" y="352"/>
                </a:cubicBezTo>
                <a:cubicBezTo>
                  <a:pt x="1877" y="352"/>
                  <a:pt x="1877" y="352"/>
                  <a:pt x="1877" y="352"/>
                </a:cubicBezTo>
                <a:close/>
                <a:moveTo>
                  <a:pt x="1737" y="5"/>
                </a:moveTo>
                <a:cubicBezTo>
                  <a:pt x="1730" y="2"/>
                  <a:pt x="1721" y="0"/>
                  <a:pt x="1710" y="0"/>
                </a:cubicBezTo>
                <a:cubicBezTo>
                  <a:pt x="1690" y="0"/>
                  <a:pt x="1673" y="7"/>
                  <a:pt x="1660" y="22"/>
                </a:cubicBezTo>
                <a:cubicBezTo>
                  <a:pt x="1647" y="36"/>
                  <a:pt x="1641" y="56"/>
                  <a:pt x="1641" y="81"/>
                </a:cubicBezTo>
                <a:cubicBezTo>
                  <a:pt x="1641" y="125"/>
                  <a:pt x="1641" y="125"/>
                  <a:pt x="1641" y="125"/>
                </a:cubicBezTo>
                <a:cubicBezTo>
                  <a:pt x="1596" y="125"/>
                  <a:pt x="1596" y="125"/>
                  <a:pt x="1596" y="125"/>
                </a:cubicBezTo>
                <a:cubicBezTo>
                  <a:pt x="1596" y="146"/>
                  <a:pt x="1596" y="146"/>
                  <a:pt x="1596" y="146"/>
                </a:cubicBezTo>
                <a:cubicBezTo>
                  <a:pt x="1641" y="146"/>
                  <a:pt x="1641" y="146"/>
                  <a:pt x="1641" y="146"/>
                </a:cubicBezTo>
                <a:cubicBezTo>
                  <a:pt x="1641" y="377"/>
                  <a:pt x="1641" y="377"/>
                  <a:pt x="1641" y="377"/>
                </a:cubicBezTo>
                <a:cubicBezTo>
                  <a:pt x="1663" y="377"/>
                  <a:pt x="1663" y="377"/>
                  <a:pt x="1663" y="377"/>
                </a:cubicBezTo>
                <a:cubicBezTo>
                  <a:pt x="1663" y="146"/>
                  <a:pt x="1663" y="146"/>
                  <a:pt x="1663" y="146"/>
                </a:cubicBezTo>
                <a:cubicBezTo>
                  <a:pt x="1729" y="146"/>
                  <a:pt x="1729" y="146"/>
                  <a:pt x="1729" y="146"/>
                </a:cubicBezTo>
                <a:cubicBezTo>
                  <a:pt x="1729" y="125"/>
                  <a:pt x="1729" y="125"/>
                  <a:pt x="1729" y="125"/>
                </a:cubicBezTo>
                <a:cubicBezTo>
                  <a:pt x="1663" y="125"/>
                  <a:pt x="1663" y="125"/>
                  <a:pt x="1663" y="125"/>
                </a:cubicBezTo>
                <a:cubicBezTo>
                  <a:pt x="1663" y="83"/>
                  <a:pt x="1663" y="83"/>
                  <a:pt x="1663" y="83"/>
                </a:cubicBezTo>
                <a:cubicBezTo>
                  <a:pt x="1663" y="42"/>
                  <a:pt x="1679" y="21"/>
                  <a:pt x="1709" y="21"/>
                </a:cubicBezTo>
                <a:cubicBezTo>
                  <a:pt x="1721" y="21"/>
                  <a:pt x="1730" y="23"/>
                  <a:pt x="1737" y="28"/>
                </a:cubicBezTo>
                <a:cubicBezTo>
                  <a:pt x="1737" y="5"/>
                  <a:pt x="1737" y="5"/>
                  <a:pt x="1737" y="5"/>
                </a:cubicBezTo>
                <a:cubicBezTo>
                  <a:pt x="1737" y="5"/>
                  <a:pt x="1737" y="5"/>
                  <a:pt x="1737" y="5"/>
                </a:cubicBezTo>
                <a:close/>
                <a:moveTo>
                  <a:pt x="1532" y="168"/>
                </a:moveTo>
                <a:cubicBezTo>
                  <a:pt x="1548" y="187"/>
                  <a:pt x="1556" y="215"/>
                  <a:pt x="1556" y="251"/>
                </a:cubicBezTo>
                <a:cubicBezTo>
                  <a:pt x="1556" y="286"/>
                  <a:pt x="1548" y="313"/>
                  <a:pt x="1531" y="333"/>
                </a:cubicBezTo>
                <a:cubicBezTo>
                  <a:pt x="1515" y="352"/>
                  <a:pt x="1492" y="362"/>
                  <a:pt x="1462" y="362"/>
                </a:cubicBezTo>
                <a:cubicBezTo>
                  <a:pt x="1433" y="362"/>
                  <a:pt x="1410" y="352"/>
                  <a:pt x="1393" y="332"/>
                </a:cubicBezTo>
                <a:cubicBezTo>
                  <a:pt x="1375" y="313"/>
                  <a:pt x="1367" y="286"/>
                  <a:pt x="1367" y="253"/>
                </a:cubicBezTo>
                <a:cubicBezTo>
                  <a:pt x="1367" y="218"/>
                  <a:pt x="1375" y="190"/>
                  <a:pt x="1393" y="170"/>
                </a:cubicBezTo>
                <a:cubicBezTo>
                  <a:pt x="1410" y="150"/>
                  <a:pt x="1434" y="140"/>
                  <a:pt x="1463" y="140"/>
                </a:cubicBezTo>
                <a:cubicBezTo>
                  <a:pt x="1493" y="140"/>
                  <a:pt x="1516" y="149"/>
                  <a:pt x="1532" y="168"/>
                </a:cubicBezTo>
                <a:moveTo>
                  <a:pt x="1547" y="347"/>
                </a:moveTo>
                <a:cubicBezTo>
                  <a:pt x="1568" y="322"/>
                  <a:pt x="1579" y="291"/>
                  <a:pt x="1579" y="251"/>
                </a:cubicBezTo>
                <a:cubicBezTo>
                  <a:pt x="1579" y="210"/>
                  <a:pt x="1569" y="178"/>
                  <a:pt x="1548" y="154"/>
                </a:cubicBezTo>
                <a:cubicBezTo>
                  <a:pt x="1528" y="131"/>
                  <a:pt x="1499" y="119"/>
                  <a:pt x="1464" y="119"/>
                </a:cubicBezTo>
                <a:cubicBezTo>
                  <a:pt x="1427" y="119"/>
                  <a:pt x="1398" y="131"/>
                  <a:pt x="1376" y="155"/>
                </a:cubicBezTo>
                <a:cubicBezTo>
                  <a:pt x="1354" y="179"/>
                  <a:pt x="1343" y="211"/>
                  <a:pt x="1343" y="252"/>
                </a:cubicBezTo>
                <a:cubicBezTo>
                  <a:pt x="1343" y="292"/>
                  <a:pt x="1354" y="323"/>
                  <a:pt x="1375" y="347"/>
                </a:cubicBezTo>
                <a:cubicBezTo>
                  <a:pt x="1397" y="371"/>
                  <a:pt x="1425" y="383"/>
                  <a:pt x="1461" y="383"/>
                </a:cubicBezTo>
                <a:cubicBezTo>
                  <a:pt x="1497" y="383"/>
                  <a:pt x="1526" y="371"/>
                  <a:pt x="1547" y="347"/>
                </a:cubicBezTo>
                <a:moveTo>
                  <a:pt x="1215" y="383"/>
                </a:moveTo>
                <a:cubicBezTo>
                  <a:pt x="1240" y="383"/>
                  <a:pt x="1261" y="376"/>
                  <a:pt x="1276" y="364"/>
                </a:cubicBezTo>
                <a:cubicBezTo>
                  <a:pt x="1291" y="351"/>
                  <a:pt x="1299" y="334"/>
                  <a:pt x="1299" y="314"/>
                </a:cubicBezTo>
                <a:cubicBezTo>
                  <a:pt x="1299" y="297"/>
                  <a:pt x="1294" y="284"/>
                  <a:pt x="1285" y="274"/>
                </a:cubicBezTo>
                <a:cubicBezTo>
                  <a:pt x="1275" y="264"/>
                  <a:pt x="1257" y="253"/>
                  <a:pt x="1231" y="241"/>
                </a:cubicBezTo>
                <a:cubicBezTo>
                  <a:pt x="1217" y="235"/>
                  <a:pt x="1206" y="229"/>
                  <a:pt x="1199" y="224"/>
                </a:cubicBezTo>
                <a:cubicBezTo>
                  <a:pt x="1192" y="219"/>
                  <a:pt x="1187" y="214"/>
                  <a:pt x="1184" y="209"/>
                </a:cubicBezTo>
                <a:cubicBezTo>
                  <a:pt x="1181" y="203"/>
                  <a:pt x="1179" y="196"/>
                  <a:pt x="1179" y="186"/>
                </a:cubicBezTo>
                <a:cubicBezTo>
                  <a:pt x="1179" y="172"/>
                  <a:pt x="1184" y="161"/>
                  <a:pt x="1194" y="153"/>
                </a:cubicBezTo>
                <a:cubicBezTo>
                  <a:pt x="1205" y="144"/>
                  <a:pt x="1218" y="140"/>
                  <a:pt x="1234" y="140"/>
                </a:cubicBezTo>
                <a:cubicBezTo>
                  <a:pt x="1254" y="140"/>
                  <a:pt x="1273" y="146"/>
                  <a:pt x="1291" y="158"/>
                </a:cubicBezTo>
                <a:cubicBezTo>
                  <a:pt x="1291" y="132"/>
                  <a:pt x="1291" y="132"/>
                  <a:pt x="1291" y="132"/>
                </a:cubicBezTo>
                <a:cubicBezTo>
                  <a:pt x="1276" y="123"/>
                  <a:pt x="1258" y="119"/>
                  <a:pt x="1236" y="119"/>
                </a:cubicBezTo>
                <a:cubicBezTo>
                  <a:pt x="1213" y="119"/>
                  <a:pt x="1194" y="125"/>
                  <a:pt x="1179" y="138"/>
                </a:cubicBezTo>
                <a:cubicBezTo>
                  <a:pt x="1163" y="151"/>
                  <a:pt x="1156" y="167"/>
                  <a:pt x="1156" y="187"/>
                </a:cubicBezTo>
                <a:cubicBezTo>
                  <a:pt x="1156" y="205"/>
                  <a:pt x="1161" y="219"/>
                  <a:pt x="1171" y="230"/>
                </a:cubicBezTo>
                <a:cubicBezTo>
                  <a:pt x="1182" y="241"/>
                  <a:pt x="1198" y="251"/>
                  <a:pt x="1221" y="261"/>
                </a:cubicBezTo>
                <a:cubicBezTo>
                  <a:pt x="1241" y="270"/>
                  <a:pt x="1256" y="279"/>
                  <a:pt x="1264" y="286"/>
                </a:cubicBezTo>
                <a:cubicBezTo>
                  <a:pt x="1271" y="294"/>
                  <a:pt x="1275" y="303"/>
                  <a:pt x="1275" y="314"/>
                </a:cubicBezTo>
                <a:cubicBezTo>
                  <a:pt x="1275" y="346"/>
                  <a:pt x="1256" y="362"/>
                  <a:pt x="1217" y="362"/>
                </a:cubicBezTo>
                <a:cubicBezTo>
                  <a:pt x="1207" y="362"/>
                  <a:pt x="1197" y="360"/>
                  <a:pt x="1184" y="355"/>
                </a:cubicBezTo>
                <a:cubicBezTo>
                  <a:pt x="1172" y="351"/>
                  <a:pt x="1162" y="345"/>
                  <a:pt x="1155" y="338"/>
                </a:cubicBezTo>
                <a:cubicBezTo>
                  <a:pt x="1155" y="366"/>
                  <a:pt x="1155" y="366"/>
                  <a:pt x="1155" y="366"/>
                </a:cubicBezTo>
                <a:cubicBezTo>
                  <a:pt x="1171" y="377"/>
                  <a:pt x="1191" y="383"/>
                  <a:pt x="1215" y="383"/>
                </a:cubicBezTo>
                <a:moveTo>
                  <a:pt x="1058" y="168"/>
                </a:moveTo>
                <a:cubicBezTo>
                  <a:pt x="1075" y="187"/>
                  <a:pt x="1082" y="215"/>
                  <a:pt x="1082" y="251"/>
                </a:cubicBezTo>
                <a:cubicBezTo>
                  <a:pt x="1082" y="286"/>
                  <a:pt x="1074" y="313"/>
                  <a:pt x="1058" y="333"/>
                </a:cubicBezTo>
                <a:cubicBezTo>
                  <a:pt x="1042" y="352"/>
                  <a:pt x="1019" y="362"/>
                  <a:pt x="989" y="362"/>
                </a:cubicBezTo>
                <a:cubicBezTo>
                  <a:pt x="960" y="362"/>
                  <a:pt x="937" y="352"/>
                  <a:pt x="919" y="332"/>
                </a:cubicBezTo>
                <a:cubicBezTo>
                  <a:pt x="902" y="313"/>
                  <a:pt x="893" y="286"/>
                  <a:pt x="893" y="253"/>
                </a:cubicBezTo>
                <a:cubicBezTo>
                  <a:pt x="893" y="218"/>
                  <a:pt x="902" y="190"/>
                  <a:pt x="920" y="170"/>
                </a:cubicBezTo>
                <a:cubicBezTo>
                  <a:pt x="937" y="150"/>
                  <a:pt x="960" y="140"/>
                  <a:pt x="990" y="140"/>
                </a:cubicBezTo>
                <a:cubicBezTo>
                  <a:pt x="1020" y="140"/>
                  <a:pt x="1042" y="149"/>
                  <a:pt x="1058" y="168"/>
                </a:cubicBezTo>
                <a:moveTo>
                  <a:pt x="1074" y="347"/>
                </a:moveTo>
                <a:cubicBezTo>
                  <a:pt x="1095" y="322"/>
                  <a:pt x="1106" y="291"/>
                  <a:pt x="1106" y="251"/>
                </a:cubicBezTo>
                <a:cubicBezTo>
                  <a:pt x="1106" y="210"/>
                  <a:pt x="1096" y="178"/>
                  <a:pt x="1075" y="154"/>
                </a:cubicBezTo>
                <a:cubicBezTo>
                  <a:pt x="1054" y="131"/>
                  <a:pt x="1026" y="119"/>
                  <a:pt x="991" y="119"/>
                </a:cubicBezTo>
                <a:cubicBezTo>
                  <a:pt x="954" y="119"/>
                  <a:pt x="925" y="131"/>
                  <a:pt x="903" y="155"/>
                </a:cubicBezTo>
                <a:cubicBezTo>
                  <a:pt x="881" y="179"/>
                  <a:pt x="870" y="211"/>
                  <a:pt x="870" y="252"/>
                </a:cubicBezTo>
                <a:cubicBezTo>
                  <a:pt x="870" y="292"/>
                  <a:pt x="881" y="323"/>
                  <a:pt x="902" y="347"/>
                </a:cubicBezTo>
                <a:cubicBezTo>
                  <a:pt x="923" y="371"/>
                  <a:pt x="952" y="383"/>
                  <a:pt x="988" y="383"/>
                </a:cubicBezTo>
                <a:cubicBezTo>
                  <a:pt x="1024" y="383"/>
                  <a:pt x="1052" y="371"/>
                  <a:pt x="1074" y="347"/>
                </a:cubicBezTo>
                <a:moveTo>
                  <a:pt x="851" y="125"/>
                </a:moveTo>
                <a:cubicBezTo>
                  <a:pt x="844" y="122"/>
                  <a:pt x="835" y="120"/>
                  <a:pt x="826" y="120"/>
                </a:cubicBezTo>
                <a:cubicBezTo>
                  <a:pt x="810" y="120"/>
                  <a:pt x="796" y="126"/>
                  <a:pt x="783" y="136"/>
                </a:cubicBezTo>
                <a:cubicBezTo>
                  <a:pt x="771" y="147"/>
                  <a:pt x="762" y="162"/>
                  <a:pt x="756" y="181"/>
                </a:cubicBezTo>
                <a:cubicBezTo>
                  <a:pt x="755" y="181"/>
                  <a:pt x="755" y="181"/>
                  <a:pt x="755" y="181"/>
                </a:cubicBezTo>
                <a:cubicBezTo>
                  <a:pt x="755" y="125"/>
                  <a:pt x="755" y="125"/>
                  <a:pt x="755" y="125"/>
                </a:cubicBezTo>
                <a:cubicBezTo>
                  <a:pt x="733" y="125"/>
                  <a:pt x="733" y="125"/>
                  <a:pt x="733" y="125"/>
                </a:cubicBezTo>
                <a:cubicBezTo>
                  <a:pt x="733" y="377"/>
                  <a:pt x="733" y="377"/>
                  <a:pt x="733" y="377"/>
                </a:cubicBezTo>
                <a:cubicBezTo>
                  <a:pt x="755" y="377"/>
                  <a:pt x="755" y="377"/>
                  <a:pt x="755" y="377"/>
                </a:cubicBezTo>
                <a:cubicBezTo>
                  <a:pt x="755" y="259"/>
                  <a:pt x="755" y="259"/>
                  <a:pt x="755" y="259"/>
                </a:cubicBezTo>
                <a:cubicBezTo>
                  <a:pt x="755" y="235"/>
                  <a:pt x="758" y="214"/>
                  <a:pt x="764" y="196"/>
                </a:cubicBezTo>
                <a:cubicBezTo>
                  <a:pt x="770" y="178"/>
                  <a:pt x="778" y="164"/>
                  <a:pt x="789" y="155"/>
                </a:cubicBezTo>
                <a:cubicBezTo>
                  <a:pt x="800" y="145"/>
                  <a:pt x="811" y="141"/>
                  <a:pt x="825" y="141"/>
                </a:cubicBezTo>
                <a:cubicBezTo>
                  <a:pt x="835" y="141"/>
                  <a:pt x="843" y="143"/>
                  <a:pt x="851" y="149"/>
                </a:cubicBezTo>
                <a:cubicBezTo>
                  <a:pt x="851" y="125"/>
                  <a:pt x="851" y="125"/>
                  <a:pt x="851" y="125"/>
                </a:cubicBezTo>
                <a:cubicBezTo>
                  <a:pt x="851" y="125"/>
                  <a:pt x="851" y="125"/>
                  <a:pt x="851" y="125"/>
                </a:cubicBezTo>
                <a:close/>
                <a:moveTo>
                  <a:pt x="674" y="342"/>
                </a:moveTo>
                <a:cubicBezTo>
                  <a:pt x="655" y="355"/>
                  <a:pt x="633" y="362"/>
                  <a:pt x="608" y="362"/>
                </a:cubicBezTo>
                <a:cubicBezTo>
                  <a:pt x="581" y="362"/>
                  <a:pt x="559" y="352"/>
                  <a:pt x="542" y="332"/>
                </a:cubicBezTo>
                <a:cubicBezTo>
                  <a:pt x="526" y="312"/>
                  <a:pt x="518" y="286"/>
                  <a:pt x="518" y="254"/>
                </a:cubicBezTo>
                <a:cubicBezTo>
                  <a:pt x="518" y="232"/>
                  <a:pt x="522" y="212"/>
                  <a:pt x="530" y="195"/>
                </a:cubicBezTo>
                <a:cubicBezTo>
                  <a:pt x="538" y="177"/>
                  <a:pt x="550" y="164"/>
                  <a:pt x="565" y="154"/>
                </a:cubicBezTo>
                <a:cubicBezTo>
                  <a:pt x="580" y="144"/>
                  <a:pt x="597" y="140"/>
                  <a:pt x="616" y="140"/>
                </a:cubicBezTo>
                <a:cubicBezTo>
                  <a:pt x="637" y="140"/>
                  <a:pt x="657" y="145"/>
                  <a:pt x="675" y="156"/>
                </a:cubicBezTo>
                <a:cubicBezTo>
                  <a:pt x="675" y="131"/>
                  <a:pt x="675" y="131"/>
                  <a:pt x="675" y="131"/>
                </a:cubicBezTo>
                <a:cubicBezTo>
                  <a:pt x="657" y="123"/>
                  <a:pt x="638" y="119"/>
                  <a:pt x="619" y="119"/>
                </a:cubicBezTo>
                <a:cubicBezTo>
                  <a:pt x="595" y="119"/>
                  <a:pt x="574" y="125"/>
                  <a:pt x="555" y="136"/>
                </a:cubicBezTo>
                <a:cubicBezTo>
                  <a:pt x="536" y="148"/>
                  <a:pt x="521" y="164"/>
                  <a:pt x="510" y="185"/>
                </a:cubicBezTo>
                <a:cubicBezTo>
                  <a:pt x="500" y="206"/>
                  <a:pt x="494" y="230"/>
                  <a:pt x="494" y="255"/>
                </a:cubicBezTo>
                <a:cubicBezTo>
                  <a:pt x="494" y="280"/>
                  <a:pt x="499" y="302"/>
                  <a:pt x="508" y="321"/>
                </a:cubicBezTo>
                <a:cubicBezTo>
                  <a:pt x="518" y="341"/>
                  <a:pt x="531" y="356"/>
                  <a:pt x="548" y="367"/>
                </a:cubicBezTo>
                <a:cubicBezTo>
                  <a:pt x="566" y="377"/>
                  <a:pt x="585" y="383"/>
                  <a:pt x="607" y="383"/>
                </a:cubicBezTo>
                <a:cubicBezTo>
                  <a:pt x="633" y="383"/>
                  <a:pt x="655" y="377"/>
                  <a:pt x="674" y="366"/>
                </a:cubicBezTo>
                <a:cubicBezTo>
                  <a:pt x="674" y="342"/>
                  <a:pt x="674" y="342"/>
                  <a:pt x="674" y="342"/>
                </a:cubicBezTo>
                <a:cubicBezTo>
                  <a:pt x="674" y="342"/>
                  <a:pt x="674" y="342"/>
                  <a:pt x="674" y="342"/>
                </a:cubicBezTo>
                <a:close/>
                <a:moveTo>
                  <a:pt x="432" y="125"/>
                </a:moveTo>
                <a:cubicBezTo>
                  <a:pt x="410" y="125"/>
                  <a:pt x="410" y="125"/>
                  <a:pt x="410" y="125"/>
                </a:cubicBezTo>
                <a:cubicBezTo>
                  <a:pt x="410" y="377"/>
                  <a:pt x="410" y="377"/>
                  <a:pt x="410" y="377"/>
                </a:cubicBezTo>
                <a:cubicBezTo>
                  <a:pt x="432" y="377"/>
                  <a:pt x="432" y="377"/>
                  <a:pt x="432" y="377"/>
                </a:cubicBezTo>
                <a:cubicBezTo>
                  <a:pt x="432" y="125"/>
                  <a:pt x="432" y="125"/>
                  <a:pt x="432" y="125"/>
                </a:cubicBezTo>
                <a:cubicBezTo>
                  <a:pt x="432" y="125"/>
                  <a:pt x="432" y="125"/>
                  <a:pt x="432" y="125"/>
                </a:cubicBezTo>
                <a:close/>
                <a:moveTo>
                  <a:pt x="434" y="56"/>
                </a:moveTo>
                <a:cubicBezTo>
                  <a:pt x="438" y="52"/>
                  <a:pt x="440" y="48"/>
                  <a:pt x="440" y="43"/>
                </a:cubicBezTo>
                <a:cubicBezTo>
                  <a:pt x="440" y="37"/>
                  <a:pt x="438" y="33"/>
                  <a:pt x="434" y="29"/>
                </a:cubicBezTo>
                <a:cubicBezTo>
                  <a:pt x="430" y="26"/>
                  <a:pt x="426" y="24"/>
                  <a:pt x="421" y="24"/>
                </a:cubicBezTo>
                <a:cubicBezTo>
                  <a:pt x="416" y="24"/>
                  <a:pt x="412" y="26"/>
                  <a:pt x="408" y="29"/>
                </a:cubicBezTo>
                <a:cubicBezTo>
                  <a:pt x="404" y="33"/>
                  <a:pt x="402" y="37"/>
                  <a:pt x="402" y="43"/>
                </a:cubicBezTo>
                <a:cubicBezTo>
                  <a:pt x="402" y="48"/>
                  <a:pt x="404" y="53"/>
                  <a:pt x="408" y="56"/>
                </a:cubicBezTo>
                <a:cubicBezTo>
                  <a:pt x="412" y="60"/>
                  <a:pt x="416" y="62"/>
                  <a:pt x="421" y="62"/>
                </a:cubicBezTo>
                <a:cubicBezTo>
                  <a:pt x="426" y="62"/>
                  <a:pt x="431" y="60"/>
                  <a:pt x="434" y="56"/>
                </a:cubicBezTo>
                <a:moveTo>
                  <a:pt x="325" y="377"/>
                </a:moveTo>
                <a:cubicBezTo>
                  <a:pt x="325" y="24"/>
                  <a:pt x="325" y="24"/>
                  <a:pt x="325" y="24"/>
                </a:cubicBezTo>
                <a:cubicBezTo>
                  <a:pt x="304" y="24"/>
                  <a:pt x="304" y="24"/>
                  <a:pt x="304" y="24"/>
                </a:cubicBezTo>
                <a:cubicBezTo>
                  <a:pt x="175" y="306"/>
                  <a:pt x="175" y="306"/>
                  <a:pt x="175" y="306"/>
                </a:cubicBezTo>
                <a:cubicBezTo>
                  <a:pt x="164" y="337"/>
                  <a:pt x="164" y="337"/>
                  <a:pt x="164" y="337"/>
                </a:cubicBezTo>
                <a:cubicBezTo>
                  <a:pt x="163" y="337"/>
                  <a:pt x="163" y="337"/>
                  <a:pt x="163" y="337"/>
                </a:cubicBezTo>
                <a:cubicBezTo>
                  <a:pt x="155" y="315"/>
                  <a:pt x="155" y="315"/>
                  <a:pt x="155" y="315"/>
                </a:cubicBezTo>
                <a:cubicBezTo>
                  <a:pt x="152" y="308"/>
                  <a:pt x="152" y="308"/>
                  <a:pt x="152" y="308"/>
                </a:cubicBezTo>
                <a:cubicBezTo>
                  <a:pt x="22" y="24"/>
                  <a:pt x="22" y="24"/>
                  <a:pt x="22" y="24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377"/>
                  <a:pt x="0" y="377"/>
                  <a:pt x="0" y="377"/>
                </a:cubicBezTo>
                <a:cubicBezTo>
                  <a:pt x="24" y="377"/>
                  <a:pt x="24" y="377"/>
                  <a:pt x="24" y="377"/>
                </a:cubicBezTo>
                <a:cubicBezTo>
                  <a:pt x="24" y="121"/>
                  <a:pt x="24" y="121"/>
                  <a:pt x="24" y="121"/>
                </a:cubicBezTo>
                <a:cubicBezTo>
                  <a:pt x="24" y="103"/>
                  <a:pt x="23" y="88"/>
                  <a:pt x="22" y="74"/>
                </a:cubicBezTo>
                <a:cubicBezTo>
                  <a:pt x="23" y="74"/>
                  <a:pt x="23" y="74"/>
                  <a:pt x="23" y="74"/>
                </a:cubicBezTo>
                <a:cubicBezTo>
                  <a:pt x="26" y="87"/>
                  <a:pt x="30" y="98"/>
                  <a:pt x="35" y="107"/>
                </a:cubicBezTo>
                <a:cubicBezTo>
                  <a:pt x="159" y="377"/>
                  <a:pt x="159" y="377"/>
                  <a:pt x="159" y="377"/>
                </a:cubicBezTo>
                <a:cubicBezTo>
                  <a:pt x="167" y="377"/>
                  <a:pt x="167" y="377"/>
                  <a:pt x="167" y="377"/>
                </a:cubicBezTo>
                <a:cubicBezTo>
                  <a:pt x="291" y="105"/>
                  <a:pt x="291" y="105"/>
                  <a:pt x="291" y="105"/>
                </a:cubicBezTo>
                <a:cubicBezTo>
                  <a:pt x="304" y="75"/>
                  <a:pt x="304" y="75"/>
                  <a:pt x="304" y="75"/>
                </a:cubicBezTo>
                <a:cubicBezTo>
                  <a:pt x="305" y="75"/>
                  <a:pt x="305" y="75"/>
                  <a:pt x="305" y="75"/>
                </a:cubicBezTo>
                <a:cubicBezTo>
                  <a:pt x="302" y="127"/>
                  <a:pt x="302" y="127"/>
                  <a:pt x="302" y="127"/>
                </a:cubicBezTo>
                <a:cubicBezTo>
                  <a:pt x="302" y="377"/>
                  <a:pt x="302" y="377"/>
                  <a:pt x="302" y="377"/>
                </a:cubicBezTo>
                <a:cubicBezTo>
                  <a:pt x="325" y="377"/>
                  <a:pt x="325" y="377"/>
                  <a:pt x="325" y="377"/>
                </a:cubicBezTo>
                <a:cubicBezTo>
                  <a:pt x="325" y="377"/>
                  <a:pt x="325" y="377"/>
                  <a:pt x="325" y="377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</p:spTree>
    <p:extLst>
      <p:ext uri="{BB962C8B-B14F-4D97-AF65-F5344CB8AC3E}">
        <p14:creationId xmlns:p14="http://schemas.microsoft.com/office/powerpoint/2010/main" val="3115486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SECTION ALT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288531" cy="6858000"/>
          </a:xfrm>
          <a:prstGeom prst="rect">
            <a:avLst/>
          </a:prstGeom>
        </p:spPr>
      </p:pic>
      <p:sp>
        <p:nvSpPr>
          <p:cNvPr id="11" name="Freeform 10"/>
          <p:cNvSpPr>
            <a:spLocks/>
          </p:cNvSpPr>
          <p:nvPr userDrawn="1"/>
        </p:nvSpPr>
        <p:spPr bwMode="white">
          <a:xfrm rot="10800000">
            <a:off x="4241406" y="5"/>
            <a:ext cx="7950602" cy="6860381"/>
          </a:xfrm>
          <a:custGeom>
            <a:avLst/>
            <a:gdLst>
              <a:gd name="connsiteX0" fmla="*/ 7948531 w 7948531"/>
              <a:gd name="connsiteY0" fmla="*/ 6996953 h 6996953"/>
              <a:gd name="connsiteX1" fmla="*/ 1892968 w 7948531"/>
              <a:gd name="connsiteY1" fmla="*/ 6996953 h 6996953"/>
              <a:gd name="connsiteX2" fmla="*/ 623824 w 7948531"/>
              <a:gd name="connsiteY2" fmla="*/ 6996953 h 6996953"/>
              <a:gd name="connsiteX3" fmla="*/ 0 w 7948531"/>
              <a:gd name="connsiteY3" fmla="*/ 6996953 h 6996953"/>
              <a:gd name="connsiteX4" fmla="*/ 0 w 7948531"/>
              <a:gd name="connsiteY4" fmla="*/ 0 h 6996953"/>
              <a:gd name="connsiteX5" fmla="*/ 623824 w 7948531"/>
              <a:gd name="connsiteY5" fmla="*/ 0 h 6996953"/>
              <a:gd name="connsiteX6" fmla="*/ 1892968 w 7948531"/>
              <a:gd name="connsiteY6" fmla="*/ 0 h 6996953"/>
              <a:gd name="connsiteX7" fmla="*/ 4246726 w 7948531"/>
              <a:gd name="connsiteY7" fmla="*/ 0 h 699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948531" h="6996953">
                <a:moveTo>
                  <a:pt x="7948531" y="6996953"/>
                </a:moveTo>
                <a:lnTo>
                  <a:pt x="1892968" y="6996953"/>
                </a:lnTo>
                <a:lnTo>
                  <a:pt x="623824" y="6996953"/>
                </a:lnTo>
                <a:lnTo>
                  <a:pt x="0" y="6996953"/>
                </a:lnTo>
                <a:lnTo>
                  <a:pt x="0" y="0"/>
                </a:lnTo>
                <a:lnTo>
                  <a:pt x="623824" y="0"/>
                </a:lnTo>
                <a:lnTo>
                  <a:pt x="1892968" y="0"/>
                </a:lnTo>
                <a:lnTo>
                  <a:pt x="424672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213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204896" y="2427150"/>
            <a:ext cx="4541535" cy="766329"/>
          </a:xfrm>
        </p:spPr>
        <p:txBody>
          <a:bodyPr lIns="0" tIns="0" rIns="0" bIns="0" anchor="b" anchorCtr="0">
            <a:noAutofit/>
          </a:bodyPr>
          <a:lstStyle>
            <a:lvl1pPr marL="0" indent="0" algn="r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1961" b="0" kern="1200" cap="none" spc="0" baseline="0" dirty="0">
                <a:gradFill>
                  <a:gsLst>
                    <a:gs pos="74731">
                      <a:schemeClr val="bg2"/>
                    </a:gs>
                    <a:gs pos="56637">
                      <a:schemeClr val="bg2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683004" y="3326359"/>
            <a:ext cx="5067762" cy="766329"/>
          </a:xfrm>
        </p:spPr>
        <p:txBody>
          <a:bodyPr lIns="0" tIns="0" rIns="0" bIns="0" anchor="t" anchorCtr="0">
            <a:noAutofit/>
          </a:bodyPr>
          <a:lstStyle>
            <a:lvl1pPr marL="0" indent="0" algn="r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6470" b="0" kern="1200" cap="none" spc="-147" baseline="0" dirty="0">
                <a:gradFill>
                  <a:gsLst>
                    <a:gs pos="74731">
                      <a:schemeClr val="bg2"/>
                    </a:gs>
                    <a:gs pos="56637">
                      <a:schemeClr val="bg2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94029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96093" y="2857236"/>
            <a:ext cx="5067762" cy="766329"/>
          </a:xfrm>
        </p:spPr>
        <p:txBody>
          <a:bodyPr lIns="0" tIns="0" rIns="0" bIns="0" anchor="b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6470" b="0" kern="1200" cap="none" spc="-147" baseline="0" dirty="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806001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1323" y="6067483"/>
            <a:ext cx="8442338" cy="53111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1568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© 2018 Microsoft Corporation. All rights reserved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8C2AC3-3C3C-4191-BCD0-638C86C58D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8212" y="3045996"/>
            <a:ext cx="3637818" cy="786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3542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4F0D041-9353-478C-900A-F61E874D1F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448212" y="3045996"/>
            <a:ext cx="3637818" cy="786859"/>
          </a:xfrm>
          <a:prstGeom prst="rect">
            <a:avLst/>
          </a:prstGeom>
        </p:spPr>
      </p:pic>
      <p:sp>
        <p:nvSpPr>
          <p:cNvPr id="7" name="Text Box 3">
            <a:extLst>
              <a:ext uri="{FF2B5EF4-FFF2-40B4-BE49-F238E27FC236}">
                <a16:creationId xmlns:a16="http://schemas.microsoft.com/office/drawing/2014/main" id="{21205FA5-C8EF-4EE9-BE82-AC55AC8DEBF7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261322" y="6067483"/>
            <a:ext cx="8046243" cy="53111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1568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© 2018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4487805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061289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701" y="-634"/>
            <a:ext cx="8780819" cy="921104"/>
          </a:xfrm>
        </p:spPr>
        <p:txBody>
          <a:bodyPr/>
          <a:lstStyle>
            <a:lvl1pPr>
              <a:defRPr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9442980" y="220768"/>
            <a:ext cx="2491325" cy="701501"/>
            <a:chOff x="9442979" y="220768"/>
            <a:chExt cx="2491325" cy="701501"/>
          </a:xfrm>
        </p:grpSpPr>
        <p:pic>
          <p:nvPicPr>
            <p:cNvPr id="7" name="Picture 6" descr="prep_blue.png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42979" y="220768"/>
              <a:ext cx="692156" cy="689420"/>
            </a:xfrm>
            <a:prstGeom prst="rect">
              <a:avLst/>
            </a:prstGeom>
          </p:spPr>
        </p:pic>
        <p:pic>
          <p:nvPicPr>
            <p:cNvPr id="8" name="Picture 7" descr="booster_blue.png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92831" y="230113"/>
              <a:ext cx="692156" cy="692156"/>
            </a:xfrm>
            <a:prstGeom prst="rect">
              <a:avLst/>
            </a:prstGeom>
          </p:spPr>
        </p:pic>
        <p:pic>
          <p:nvPicPr>
            <p:cNvPr id="9" name="Picture 8" descr="master_blue.png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42148" y="228313"/>
              <a:ext cx="692156" cy="6921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70092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"/>
            <a:ext cx="12191376" cy="686161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-1" y="0"/>
            <a:ext cx="12192001" cy="6858000"/>
          </a:xfrm>
          <a:prstGeom prst="rect">
            <a:avLst/>
          </a:prstGeom>
          <a:gradFill flip="none" rotWithShape="1">
            <a:gsLst>
              <a:gs pos="6600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  <a:gs pos="18000">
                <a:srgbClr val="000000">
                  <a:alpha val="5000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80444" y="3036759"/>
            <a:ext cx="7735572" cy="1185953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647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icrosoft Data Amp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280445" y="3933007"/>
            <a:ext cx="3417051" cy="832882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392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ril 19, 2017</a:t>
            </a:r>
          </a:p>
        </p:txBody>
      </p:sp>
    </p:spTree>
    <p:extLst>
      <p:ext uri="{BB962C8B-B14F-4D97-AF65-F5344CB8AC3E}">
        <p14:creationId xmlns:p14="http://schemas.microsoft.com/office/powerpoint/2010/main" val="11700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24947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-811" y="0"/>
            <a:ext cx="12192811" cy="6858001"/>
            <a:chOff x="-1675" y="-1"/>
            <a:chExt cx="12193676" cy="6858001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flipH="1">
              <a:off x="-1675" y="-1"/>
              <a:ext cx="12193675" cy="6858001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 bwMode="auto">
            <a:xfrm>
              <a:off x="1" y="0"/>
              <a:ext cx="12192000" cy="6858000"/>
            </a:xfrm>
            <a:prstGeom prst="rect">
              <a:avLst/>
            </a:prstGeom>
            <a:solidFill>
              <a:schemeClr val="bg2">
                <a:alpha val="80000"/>
              </a:schemeClr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39803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6068635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_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865" y="0"/>
            <a:ext cx="12191945" cy="6858001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auto">
          <a:xfrm>
            <a:off x="-811" y="1"/>
            <a:ext cx="12192811" cy="6858000"/>
          </a:xfrm>
          <a:prstGeom prst="rect">
            <a:avLst/>
          </a:prstGeom>
          <a:solidFill>
            <a:schemeClr val="accent1">
              <a:alpha val="75000"/>
            </a:schemeClr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srgbClr val="00205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85788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488052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" y="1364343"/>
            <a:ext cx="12191999" cy="5509556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08626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4" y="358848"/>
            <a:ext cx="11384209" cy="867874"/>
          </a:xfrm>
        </p:spPr>
        <p:txBody>
          <a:bodyPr anchor="ctr">
            <a:norm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" y="1428467"/>
            <a:ext cx="12191999" cy="5445432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110400"/>
            <a:ext cx="3048001" cy="355158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Ins="0" rtlCol="0" anchor="ctr">
            <a:noAutofit/>
          </a:bodyPr>
          <a:lstStyle>
            <a:lvl1pPr>
              <a:defRPr kumimoji="0" lang="en-US" sz="1400" b="0" i="0" u="none" strike="noStrike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921651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gra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/>
          <p:cNvSpPr/>
          <p:nvPr userDrawn="1"/>
        </p:nvSpPr>
        <p:spPr>
          <a:xfrm>
            <a:off x="1" y="1428466"/>
            <a:ext cx="12191999" cy="5429535"/>
          </a:xfrm>
          <a:custGeom>
            <a:avLst/>
            <a:gdLst>
              <a:gd name="connsiteX0" fmla="*/ 0 w 12191999"/>
              <a:gd name="connsiteY0" fmla="*/ 0 h 5316786"/>
              <a:gd name="connsiteX1" fmla="*/ 12191999 w 12191999"/>
              <a:gd name="connsiteY1" fmla="*/ 0 h 5316786"/>
              <a:gd name="connsiteX2" fmla="*/ 12191999 w 12191999"/>
              <a:gd name="connsiteY2" fmla="*/ 119540 h 5316786"/>
              <a:gd name="connsiteX3" fmla="*/ 7315199 w 12191999"/>
              <a:gd name="connsiteY3" fmla="*/ 119540 h 5316786"/>
              <a:gd name="connsiteX4" fmla="*/ 7315199 w 12191999"/>
              <a:gd name="connsiteY4" fmla="*/ 5315056 h 5316786"/>
              <a:gd name="connsiteX5" fmla="*/ 12191999 w 12191999"/>
              <a:gd name="connsiteY5" fmla="*/ 5315056 h 5316786"/>
              <a:gd name="connsiteX6" fmla="*/ 12191999 w 12191999"/>
              <a:gd name="connsiteY6" fmla="*/ 5316786 h 5316786"/>
              <a:gd name="connsiteX7" fmla="*/ 0 w 12191999"/>
              <a:gd name="connsiteY7" fmla="*/ 5316786 h 5316786"/>
              <a:gd name="connsiteX0" fmla="*/ 0 w 12191999"/>
              <a:gd name="connsiteY0" fmla="*/ 0 h 5316786"/>
              <a:gd name="connsiteX1" fmla="*/ 12191999 w 12191999"/>
              <a:gd name="connsiteY1" fmla="*/ 0 h 5316786"/>
              <a:gd name="connsiteX2" fmla="*/ 12191999 w 12191999"/>
              <a:gd name="connsiteY2" fmla="*/ 119540 h 5316786"/>
              <a:gd name="connsiteX3" fmla="*/ 7315199 w 12191999"/>
              <a:gd name="connsiteY3" fmla="*/ 119540 h 5316786"/>
              <a:gd name="connsiteX4" fmla="*/ 7315199 w 12191999"/>
              <a:gd name="connsiteY4" fmla="*/ 5315056 h 5316786"/>
              <a:gd name="connsiteX5" fmla="*/ 12191999 w 12191999"/>
              <a:gd name="connsiteY5" fmla="*/ 5315056 h 5316786"/>
              <a:gd name="connsiteX6" fmla="*/ 0 w 12191999"/>
              <a:gd name="connsiteY6" fmla="*/ 5316786 h 5316786"/>
              <a:gd name="connsiteX7" fmla="*/ 0 w 12191999"/>
              <a:gd name="connsiteY7" fmla="*/ 0 h 5316786"/>
              <a:gd name="connsiteX0" fmla="*/ 0 w 12191999"/>
              <a:gd name="connsiteY0" fmla="*/ 0 h 5316786"/>
              <a:gd name="connsiteX1" fmla="*/ 12191999 w 12191999"/>
              <a:gd name="connsiteY1" fmla="*/ 0 h 5316786"/>
              <a:gd name="connsiteX2" fmla="*/ 12191999 w 12191999"/>
              <a:gd name="connsiteY2" fmla="*/ 119540 h 5316786"/>
              <a:gd name="connsiteX3" fmla="*/ 7315199 w 12191999"/>
              <a:gd name="connsiteY3" fmla="*/ 119540 h 5316786"/>
              <a:gd name="connsiteX4" fmla="*/ 7315199 w 12191999"/>
              <a:gd name="connsiteY4" fmla="*/ 5315056 h 5316786"/>
              <a:gd name="connsiteX5" fmla="*/ 0 w 12191999"/>
              <a:gd name="connsiteY5" fmla="*/ 5316786 h 5316786"/>
              <a:gd name="connsiteX6" fmla="*/ 0 w 12191999"/>
              <a:gd name="connsiteY6" fmla="*/ 0 h 5316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5316786">
                <a:moveTo>
                  <a:pt x="0" y="0"/>
                </a:moveTo>
                <a:lnTo>
                  <a:pt x="12191999" y="0"/>
                </a:lnTo>
                <a:lnTo>
                  <a:pt x="12191999" y="119540"/>
                </a:lnTo>
                <a:lnTo>
                  <a:pt x="7315199" y="119540"/>
                </a:lnTo>
                <a:lnTo>
                  <a:pt x="7315199" y="5315056"/>
                </a:lnTo>
                <a:lnTo>
                  <a:pt x="0" y="5316786"/>
                </a:lnTo>
                <a:lnTo>
                  <a:pt x="0" y="0"/>
                </a:lnTo>
                <a:close/>
              </a:path>
            </a:pathLst>
          </a:custGeom>
          <a:solidFill>
            <a:srgbClr val="E5F2F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896386">
              <a:defRPr/>
            </a:pPr>
            <a:endParaRPr lang="en-US" sz="1765" kern="0">
              <a:solidFill>
                <a:prstClr val="white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692554" y="1889196"/>
            <a:ext cx="3977545" cy="4576917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2000">
                <a:solidFill>
                  <a:schemeClr val="tx2"/>
                </a:solidFill>
                <a:latin typeface="+mj-lt"/>
              </a:defRPr>
            </a:lvl1pPr>
            <a:lvl2pPr>
              <a:buClr>
                <a:schemeClr val="accent1"/>
              </a:buClr>
              <a:defRPr sz="1800">
                <a:solidFill>
                  <a:schemeClr val="tx2"/>
                </a:solidFill>
                <a:latin typeface="+mj-lt"/>
              </a:defRPr>
            </a:lvl2pPr>
            <a:lvl3pPr>
              <a:buClr>
                <a:schemeClr val="accent1"/>
              </a:buClr>
              <a:defRPr sz="1600">
                <a:solidFill>
                  <a:schemeClr val="tx2"/>
                </a:solidFill>
                <a:latin typeface="+mj-lt"/>
              </a:defRPr>
            </a:lvl3pPr>
            <a:lvl4pPr>
              <a:buClr>
                <a:schemeClr val="accent1"/>
              </a:buClr>
              <a:defRPr sz="1400">
                <a:solidFill>
                  <a:schemeClr val="tx2"/>
                </a:solidFill>
                <a:latin typeface="+mj-lt"/>
              </a:defRPr>
            </a:lvl4pPr>
            <a:lvl5pPr>
              <a:buClr>
                <a:schemeClr val="accent1"/>
              </a:buClr>
              <a:defRPr sz="1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464" y="358848"/>
            <a:ext cx="11384209" cy="892552"/>
          </a:xfrm>
        </p:spPr>
        <p:txBody>
          <a:bodyPr anchor="ctr">
            <a:norm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110400"/>
            <a:ext cx="3048001" cy="355158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Ins="0" rtlCol="0" anchor="ctr">
            <a:noAutofit/>
          </a:bodyPr>
          <a:lstStyle>
            <a:lvl1pPr>
              <a:defRPr kumimoji="0" lang="en-US" sz="1400" b="0" i="0" u="none" strike="noStrike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200232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70BDB5-9302-4A72-AFF3-5588E374E395}" type="datetimeFigureOut">
              <a:rPr lang="en-US" smtClean="0">
                <a:solidFill>
                  <a:srgbClr val="505050"/>
                </a:solidFill>
              </a:rPr>
              <a:pPr/>
              <a:t>9/26/2018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8B1C62-6523-40EB-A5E7-63AFE8AC4F95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260190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583185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989578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3532210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- image ligh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865" y="0"/>
            <a:ext cx="12191945" cy="6858001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auto">
          <a:xfrm>
            <a:off x="-811" y="1"/>
            <a:ext cx="12192811" cy="6858000"/>
          </a:xfrm>
          <a:prstGeom prst="rect">
            <a:avLst/>
          </a:prstGeom>
          <a:solidFill>
            <a:schemeClr val="accent1">
              <a:alpha val="75000"/>
            </a:schemeClr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srgbClr val="002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3286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2476770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865" y="0"/>
            <a:ext cx="12191945" cy="6858001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auto">
          <a:xfrm>
            <a:off x="0" y="0"/>
            <a:ext cx="12192811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07008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3519" y="0"/>
            <a:ext cx="12184962" cy="6858000"/>
          </a:xfrm>
          <a:prstGeom prst="rect">
            <a:avLst/>
          </a:prstGeom>
          <a:blipFill dpi="0" rotWithShape="1">
            <a:blip r:embed="rId3">
              <a:alphaModFix amt="75000"/>
            </a:blip>
            <a:srcRect/>
            <a:stretch>
              <a:fillRect/>
            </a:stretch>
          </a:blipFill>
          <a:ln w="55000" cap="flat" cmpd="thickThin" algn="ctr">
            <a:noFill/>
            <a:prstDash val="solid"/>
            <a:headEnd type="none" w="med" len="med"/>
            <a:tailEnd type="none" w="med" len="med"/>
          </a:ln>
          <a:effectLst/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490827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3519" y="0"/>
            <a:ext cx="12184962" cy="6858000"/>
          </a:xfrm>
          <a:prstGeom prst="rect">
            <a:avLst/>
          </a:prstGeom>
          <a:blipFill dpi="0" rotWithShape="1">
            <a:blip r:embed="rId3">
              <a:alphaModFix amt="75000"/>
            </a:blip>
            <a:srcRect/>
            <a:stretch>
              <a:fillRect/>
            </a:stretch>
          </a:blipFill>
          <a:ln w="55000" cap="flat" cmpd="thickThin" algn="ctr">
            <a:noFill/>
            <a:prstDash val="solid"/>
            <a:headEnd type="none" w="med" len="med"/>
            <a:tailEnd type="none" w="med" len="med"/>
          </a:ln>
          <a:effectLst/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121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S end car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93388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20292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8585" y="6121376"/>
            <a:ext cx="1254995" cy="269134"/>
          </a:xfrm>
          <a:prstGeom prst="rect">
            <a:avLst/>
          </a:prstGeom>
        </p:spPr>
      </p:pic>
      <p:sp>
        <p:nvSpPr>
          <p:cNvPr id="7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267682" y="291069"/>
            <a:ext cx="3587256" cy="567015"/>
          </a:xfrm>
        </p:spPr>
        <p:txBody>
          <a:bodyPr lIns="182880" tIns="146304" rIns="182880" bIns="146304"/>
          <a:lstStyle>
            <a:lvl1pPr marL="0" indent="0">
              <a:buNone/>
              <a:defRPr sz="196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1122019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69301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54819" y="6116754"/>
            <a:ext cx="1248592" cy="268966"/>
          </a:xfrm>
          <a:prstGeom prst="rect">
            <a:avLst/>
          </a:prstGeom>
        </p:spPr>
      </p:pic>
      <p:sp>
        <p:nvSpPr>
          <p:cNvPr id="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267682" y="291069"/>
            <a:ext cx="3587256" cy="567015"/>
          </a:xfrm>
        </p:spPr>
        <p:txBody>
          <a:bodyPr lIns="182880" tIns="146304" rIns="182880" bIns="146304"/>
          <a:lstStyle>
            <a:lvl1pPr marL="0" indent="0">
              <a:buNone/>
              <a:defRPr sz="196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33831818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4">
            <a:extLst>
              <a:ext uri="{FF2B5EF4-FFF2-40B4-BE49-F238E27FC236}">
                <a16:creationId xmlns:a16="http://schemas.microsoft.com/office/drawing/2014/main" id="{13B48C3B-2CDD-41BD-82BC-F143BCAFB7BC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5399314" cy="6858000"/>
          </a:xfrm>
          <a:prstGeom prst="rect">
            <a:avLst/>
          </a:prstGeom>
          <a:solidFill>
            <a:srgbClr val="0078D7"/>
          </a:solidFill>
        </p:spPr>
        <p:txBody>
          <a:bodyPr vert="horz" wrap="square" lIns="91427" tIns="45713" rIns="91427" bIns="45713" rtlCol="0" anchor="ctr">
            <a:norm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70000"/>
              </a:lnSpc>
            </a:pPr>
            <a:endParaRPr lang="en-US" sz="3529" b="1" spc="0">
              <a:solidFill>
                <a:srgbClr val="00BCF2"/>
              </a:solidFill>
              <a:latin typeface="Segoe UI Semi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399A4E-A611-49AC-AC72-6257819D2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782669"/>
            <a:ext cx="5130074" cy="1292662"/>
          </a:xfrm>
        </p:spPr>
        <p:txBody>
          <a:bodyPr vert="horz" wrap="square" lIns="146304" tIns="91440" rIns="146304" bIns="91440" rtlCol="0" anchor="ctr" anchorCtr="0">
            <a:spAutoFit/>
          </a:bodyPr>
          <a:lstStyle>
            <a:lvl1pPr>
              <a:defRPr lang="en-US" sz="3600" b="1" spc="0">
                <a:solidFill>
                  <a:schemeClr val="bg2">
                    <a:lumMod val="10000"/>
                  </a:schemeClr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201B679-1DA6-45FD-9570-713EF3F49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50000" y="1436124"/>
            <a:ext cx="4700858" cy="4507388"/>
          </a:xfrm>
        </p:spPr>
        <p:txBody>
          <a:bodyPr/>
          <a:lstStyle>
            <a:lvl1pPr>
              <a:defRPr sz="2400"/>
            </a:lvl1pPr>
            <a:lvl2pPr>
              <a:defRPr sz="1800">
                <a:latin typeface="+mj-lt"/>
              </a:defRPr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7355890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3F308F6-277D-4907-8B84-469082083A5E}"/>
              </a:ext>
            </a:extLst>
          </p:cNvPr>
          <p:cNvSpPr/>
          <p:nvPr userDrawn="1"/>
        </p:nvSpPr>
        <p:spPr>
          <a:xfrm>
            <a:off x="0" y="0"/>
            <a:ext cx="5290457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D723EC-4AC1-42C1-8097-95B60B661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1"/>
            <a:ext cx="4720857" cy="1046440"/>
          </a:xfrm>
        </p:spPr>
        <p:txBody>
          <a:bodyPr vert="horz" wrap="square" lIns="146304" tIns="91440" rIns="146304" bIns="91440" rtlCol="0" anchor="t">
            <a:noAutofit/>
          </a:bodyPr>
          <a:lstStyle>
            <a:lvl1pPr>
              <a:defRPr lang="en-US" sz="2800" b="0" kern="1200" cap="all" spc="5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Segoe UI Semilight" charset="0"/>
                <a:ea typeface="+mn-ea"/>
                <a:cs typeface="Segoe UI Semilight" charset="0"/>
              </a:defRPr>
            </a:lvl1pPr>
          </a:lstStyle>
          <a:p>
            <a:pPr marL="0" lv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12886AA-A156-4EC6-A1EA-17C1BB0CF5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2314245"/>
            <a:ext cx="4547689" cy="404845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defRPr lang="en-US" sz="1400" spc="100" smtClean="0">
                <a:solidFill>
                  <a:schemeClr val="bg1"/>
                </a:solidFill>
                <a:latin typeface="Segoe UI Semilight" charset="0"/>
                <a:cs typeface="Segoe UI Semilight" charset="0"/>
              </a:defRPr>
            </a:lvl1pPr>
            <a:lvl2pPr>
              <a:defRPr lang="en-US" smtClean="0">
                <a:solidFill>
                  <a:schemeClr val="tx1"/>
                </a:solidFill>
              </a:defRPr>
            </a:lvl2pPr>
            <a:lvl3pPr>
              <a:defRPr lang="en-US" smtClean="0">
                <a:solidFill>
                  <a:schemeClr val="tx1"/>
                </a:solidFill>
              </a:defRPr>
            </a:lvl3pPr>
            <a:lvl4pPr>
              <a:defRPr lang="en-US" smtClean="0">
                <a:solidFill>
                  <a:schemeClr val="tx1"/>
                </a:solidFill>
              </a:defRPr>
            </a:lvl4pPr>
            <a:lvl5pPr>
              <a:defRPr lang="en-US">
                <a:solidFill>
                  <a:schemeClr val="tx1"/>
                </a:solidFill>
              </a:defRPr>
            </a:lvl5pPr>
          </a:lstStyle>
          <a:p>
            <a:pPr marL="0" lvl="0" indent="0" defTabSz="914400">
              <a:spcBef>
                <a:spcPts val="1000"/>
              </a:spcBef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5543931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092568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9635130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6404867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7557950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7058131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8338528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6115155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9033069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4389749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0332623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7910819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3605791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7"/>
            <a:ext cx="11653523" cy="1161921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405555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5268042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62085246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310362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9903400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81498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0750646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3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3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92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5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859382023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10137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3F308F6-277D-4907-8B84-469082083A5E}"/>
              </a:ext>
            </a:extLst>
          </p:cNvPr>
          <p:cNvSpPr/>
          <p:nvPr userDrawn="1"/>
        </p:nvSpPr>
        <p:spPr>
          <a:xfrm>
            <a:off x="0" y="0"/>
            <a:ext cx="5290457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D723EC-4AC1-42C1-8097-95B60B661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1"/>
            <a:ext cx="5021217" cy="1046440"/>
          </a:xfrm>
        </p:spPr>
        <p:txBody>
          <a:bodyPr vert="horz" wrap="square" lIns="146304" tIns="91440" rIns="146304" bIns="91440" rtlCol="0" anchor="t">
            <a:noAutofit/>
          </a:bodyPr>
          <a:lstStyle>
            <a:lvl1pPr>
              <a:defRPr lang="en-US" sz="2800" cap="all" spc="500">
                <a:solidFill>
                  <a:schemeClr val="bg1"/>
                </a:solidFill>
                <a:latin typeface="Segoe UI Semilight" charset="0"/>
                <a:cs typeface="Segoe UI Semilight" charset="0"/>
              </a:defRPr>
            </a:lvl1pPr>
          </a:lstStyle>
          <a:p>
            <a:pPr marL="0" lvl="0" defTabSz="91440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6299552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2" y="294379"/>
            <a:ext cx="11655840" cy="899665"/>
          </a:xfrm>
        </p:spPr>
        <p:txBody>
          <a:bodyPr/>
          <a:lstStyle>
            <a:lvl1pPr marL="0" algn="l" defTabSz="895691" rtl="0" eaLnBrk="1" latinLnBrk="0" hangingPunct="1">
              <a:spcBef>
                <a:spcPct val="0"/>
              </a:spcBef>
              <a:buNone/>
              <a:defRPr lang="en-US" sz="4310" b="0" i="0" u="none" kern="1200" spc="-147" baseline="0" dirty="0">
                <a:solidFill>
                  <a:schemeClr val="bg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2097164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147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3087833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720623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3788596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415493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8832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780510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4976138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462887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623237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395284" y="6567055"/>
            <a:ext cx="1748590" cy="290945"/>
          </a:xfrm>
          <a:prstGeom prst="rect">
            <a:avLst/>
          </a:prstGeom>
        </p:spPr>
        <p:txBody>
          <a:bodyPr/>
          <a:lstStyle/>
          <a:p>
            <a:pPr defTabSz="768113"/>
            <a:fld id="{AD484C01-4DF4-48E7-B3F6-D86EB32553F5}" type="slidenum">
              <a:rPr lang="en-US" smtClean="0"/>
              <a:pPr defTabSz="768113"/>
              <a:t>‹#›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233265" y="820738"/>
            <a:ext cx="11728548" cy="55895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50094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178950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768779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5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69173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6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648783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17401842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200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93083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70231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76354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62509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395284" y="6567055"/>
            <a:ext cx="1748590" cy="290945"/>
          </a:xfrm>
          <a:prstGeom prst="rect">
            <a:avLst/>
          </a:prstGeom>
        </p:spPr>
        <p:txBody>
          <a:bodyPr/>
          <a:lstStyle/>
          <a:p>
            <a:pPr defTabSz="768113"/>
            <a:fld id="{AD484C01-4DF4-48E7-B3F6-D86EB32553F5}" type="slidenum">
              <a:rPr lang="en-US" smtClean="0"/>
              <a:pPr defTabSz="7681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89245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5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12308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6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97300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626538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3" y="3083652"/>
            <a:ext cx="322712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223178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5" y="3083652"/>
            <a:ext cx="322712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002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74263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2"/>
            <a:ext cx="11151917" cy="63709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799"/>
            <a:ext cx="11151917" cy="98810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756"/>
              </a:spcAft>
              <a:buNone/>
              <a:defRPr sz="3400" spc="-84" baseline="0"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336"/>
              </a:spcAft>
              <a:buNone/>
              <a:defRPr sz="1700" spc="-42" baseline="0"/>
            </a:lvl2pPr>
            <a:lvl3pPr marL="0" indent="0">
              <a:spcBef>
                <a:spcPts val="0"/>
              </a:spcBef>
              <a:spcAft>
                <a:spcPts val="336"/>
              </a:spcAft>
              <a:buNone/>
              <a:defRPr sz="1700"/>
            </a:lvl3pPr>
            <a:lvl4pPr marL="0" indent="0">
              <a:spcBef>
                <a:spcPts val="0"/>
              </a:spcBef>
              <a:spcAft>
                <a:spcPts val="336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336"/>
              </a:spcAft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2595154" y="6601097"/>
            <a:ext cx="554736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7680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00000">
                        <a:lumMod val="75000"/>
                        <a:lumOff val="25000"/>
                      </a:srgbClr>
                    </a:gs>
                    <a:gs pos="80000">
                      <a:srgbClr val="000000">
                        <a:lumMod val="65000"/>
                        <a:lumOff val="35000"/>
                      </a:srgbClr>
                    </a:gs>
                  </a:gsLst>
                  <a:lin ang="16200000" scaled="0"/>
                </a:gradFill>
                <a:effectLst/>
                <a:uLnTx/>
                <a:uFillTx/>
                <a:latin typeface="Segoe UI Light" pitchFamily="34" charset="0"/>
                <a:ea typeface="+mn-ea"/>
                <a:cs typeface="+mn-cs"/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5986607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762002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80" tIns="38090" rIns="76180" bIns="38090" rtlCol="0" anchor="ctr">
            <a:noAutofit/>
          </a:bodyPr>
          <a:lstStyle/>
          <a:p>
            <a:pPr marL="0" marR="0" lvl="0" indent="0" algn="ctr" defTabSz="1087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62002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80" tIns="38090" rIns="76180" bIns="38090" rtlCol="0" anchor="ctr">
            <a:noAutofit/>
          </a:bodyPr>
          <a:lstStyle/>
          <a:p>
            <a:pPr marL="0" marR="0" lvl="0" indent="0" algn="ctr" defTabSz="1087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002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80" tIns="38090" rIns="76180" bIns="38090" rtlCol="0" anchor="ctr">
            <a:noAutofit/>
          </a:bodyPr>
          <a:lstStyle/>
          <a:p>
            <a:pPr marL="0" marR="0" lvl="0" indent="0" algn="ctr" defTabSz="1087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1" y="2286001"/>
            <a:ext cx="7620000" cy="2286000"/>
          </a:xfrm>
          <a:prstGeom prst="rect">
            <a:avLst/>
          </a:prstGeom>
        </p:spPr>
        <p:txBody>
          <a:bodyPr lIns="380893" tIns="38089" rIns="76179" bIns="38089" anchor="b">
            <a:noAutofit/>
          </a:bodyPr>
          <a:lstStyle>
            <a:lvl1pPr marL="0" indent="0">
              <a:lnSpc>
                <a:spcPct val="80000"/>
              </a:lnSpc>
              <a:buNone/>
              <a:defRPr sz="4801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1" y="4572001"/>
            <a:ext cx="7620000" cy="762000"/>
          </a:xfrm>
          <a:prstGeom prst="rect">
            <a:avLst/>
          </a:prstGeom>
        </p:spPr>
        <p:txBody>
          <a:bodyPr lIns="380893" tIns="38089" rIns="76179" bIns="38089">
            <a:noAutofit/>
          </a:bodyPr>
          <a:lstStyle>
            <a:lvl1pPr marL="190449" indent="-190449">
              <a:lnSpc>
                <a:spcPct val="80000"/>
              </a:lnSpc>
              <a:buNone/>
              <a:defRPr lang="en-US" sz="2001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222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570852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2" y="6478588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88" tIns="38093" rIns="76188" bIns="38093" rtlCol="0" anchor="ctr"/>
          <a:lstStyle/>
          <a:p>
            <a:pPr marL="0" marR="0" lvl="0" indent="0" algn="ctr" defTabSz="1087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80893" tIns="53325" rIns="53325" bIns="53325">
            <a:noAutofit/>
          </a:bodyPr>
          <a:lstStyle>
            <a:lvl1pPr marL="0" indent="0">
              <a:buNone/>
              <a:defRPr sz="2801">
                <a:latin typeface="Segoe UI Light" pitchFamily="34" charset="0"/>
              </a:defRPr>
            </a:lvl1pPr>
            <a:lvl2pPr marL="281705" indent="0">
              <a:buNone/>
              <a:defRPr/>
            </a:lvl2pPr>
            <a:lvl3pPr marL="588540" indent="0">
              <a:buNone/>
              <a:defRPr/>
            </a:lvl3pPr>
            <a:lvl4pPr marL="870244" indent="0">
              <a:buNone/>
              <a:defRPr/>
            </a:lvl4pPr>
            <a:lvl5pPr marL="1105660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/>
        </p:nvSpPr>
        <p:spPr>
          <a:xfrm>
            <a:off x="1" y="6478588"/>
            <a:ext cx="2286000" cy="379413"/>
          </a:xfrm>
          <a:prstGeom prst="rect">
            <a:avLst/>
          </a:prstGeom>
        </p:spPr>
        <p:txBody>
          <a:bodyPr lIns="380938" tIns="38093" rIns="76188" bIns="38093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058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762001" y="1524001"/>
            <a:ext cx="10668000" cy="20520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algn="r" defTabSz="1087896">
              <a:defRPr/>
            </a:pPr>
            <a:fld id="{FAADACFB-7C71-4E89-89D2-7BBA40B7BFA9}" type="slidenum">
              <a:rPr lang="en-US" sz="800" smtClean="0">
                <a:solidFill>
                  <a:srgbClr val="505050"/>
                </a:solidFill>
                <a:cs typeface="Segoe UI" pitchFamily="34" charset="0"/>
              </a:rPr>
              <a:pPr algn="r" defTabSz="1087896">
                <a:defRPr/>
              </a:pPr>
              <a:t>‹#›</a:t>
            </a:fld>
            <a:endParaRPr lang="en-US" sz="800">
              <a:solidFill>
                <a:srgbClr val="505050"/>
              </a:solidFill>
              <a:cs typeface="Segoe UI" pitchFamily="34" charset="0"/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defTabSz="1087896">
              <a:defRPr/>
            </a:pPr>
            <a:endParaRPr lang="en-US" sz="800">
              <a:solidFill>
                <a:srgbClr val="505050"/>
              </a:solidFill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6150432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63" y="1189223"/>
            <a:ext cx="11653523" cy="2052030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018342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3 Large Ti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7568" y="2671708"/>
            <a:ext cx="11379711" cy="127968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75301" tIns="75301" rIns="150602" bIns="75301" anchor="ctr" anchorCtr="0"/>
          <a:lstStyle>
            <a:lvl1pPr>
              <a:defRPr lang="en-US" sz="6600" kern="1200" spc="0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Insert Titl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0" y="6548581"/>
            <a:ext cx="12192000" cy="32789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6567055"/>
            <a:ext cx="12191999" cy="290945"/>
          </a:xfrm>
          <a:prstGeom prst="rect">
            <a:avLst/>
          </a:prstGeom>
        </p:spPr>
        <p:txBody>
          <a:bodyPr vert="horz" lIns="75301" tIns="37650" rIns="75301" bIns="37650" rtlCol="0" anchor="ctr" anchorCtr="0"/>
          <a:lstStyle>
            <a:defPPr>
              <a:defRPr lang="en-US"/>
            </a:defPPr>
            <a:lvl1pPr algn="ctr">
              <a:defRPr lang="en-US" sz="800" smtClean="0">
                <a:solidFill>
                  <a:schemeClr val="accent1"/>
                </a:solidFill>
              </a:defRPr>
            </a:lvl1pPr>
          </a:lstStyle>
          <a:p>
            <a:pPr defTabSz="768113"/>
            <a:r>
              <a:rPr sz="1000">
                <a:solidFill>
                  <a:schemeClr val="bg1"/>
                </a:solidFill>
                <a:latin typeface="+mn-lt"/>
              </a:rPr>
              <a:t>Microsoft Confidential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-1" y="6567055"/>
            <a:ext cx="3438659" cy="290945"/>
          </a:xfrm>
          <a:prstGeom prst="rect">
            <a:avLst/>
          </a:prstGeom>
          <a:noFill/>
        </p:spPr>
        <p:txBody>
          <a:bodyPr wrap="square" lIns="182880" tIns="146304" rIns="182880" bIns="146304" rtlCol="0" anchor="ctr" anchorCtr="0">
            <a:noAutofit/>
          </a:bodyPr>
          <a:lstStyle/>
          <a:p>
            <a:pPr defTabSz="768113">
              <a:spcAft>
                <a:spcPts val="600"/>
              </a:spcAft>
              <a:buSzPct val="70000"/>
              <a:buFont typeface="Wingdings 3" pitchFamily="18" charset="2"/>
              <a:buNone/>
            </a:pPr>
            <a:r>
              <a:rPr lang="en-US" sz="1000">
                <a:solidFill>
                  <a:schemeClr val="bg1"/>
                </a:solidFill>
                <a:latin typeface="+mn-lt"/>
              </a:rPr>
              <a:t>WWLP | Commercial Licensing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0395284" y="6567055"/>
            <a:ext cx="1748590" cy="290945"/>
          </a:xfrm>
          <a:prstGeom prst="rect">
            <a:avLst/>
          </a:prstGeom>
        </p:spPr>
        <p:txBody>
          <a:bodyPr anchor="ctr" anchorCtr="0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 defTabSz="768113"/>
            <a:fld id="{AD484C01-4DF4-48E7-B3F6-D86EB32553F5}" type="slidenum">
              <a:rPr lang="en-US" smtClean="0"/>
              <a:pPr defTabSz="7681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10268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5283" y="6488853"/>
            <a:ext cx="826717" cy="369147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9A7CB09-272F-41B4-8186-B2A2F473760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489826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C433A1-3028-46F9-89B8-59F94FF046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E1DBBFA-898A-42F0-88A2-766CCC6F0A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51C435F-322B-4239-970D-4C433018A7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28308-1BC1-43AF-9C09-01A509872916}" type="datetimeFigureOut">
              <a:rPr lang="fr-FR" smtClean="0"/>
              <a:t>26/09/2018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C574619-4034-4A66-958E-70657D5EA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273F81C-9EFC-4860-9527-7C17DA7289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097F55-7601-41AF-9D4C-55167538815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2170371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3" y="2626221"/>
            <a:ext cx="5692890" cy="1022871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41198"/>
            <a:ext cx="6274974" cy="1022069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4198126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5" y="3412173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412173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5628510" y="2626221"/>
            <a:ext cx="5533410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keep transform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8D9541E-22DB-4D52-8181-A1AA5720B347}"/>
              </a:ext>
            </a:extLst>
          </p:cNvPr>
          <p:cNvSpPr txBox="1"/>
          <p:nvPr userDrawn="1"/>
        </p:nvSpPr>
        <p:spPr>
          <a:xfrm>
            <a:off x="202095" y="1055246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5DD86FF-CF8D-4D5A-97BA-7526A8303C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28510" y="1055246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1931529-E991-4DB3-B887-1383B877392A}"/>
              </a:ext>
            </a:extLst>
          </p:cNvPr>
          <p:cNvSpPr txBox="1"/>
          <p:nvPr userDrawn="1"/>
        </p:nvSpPr>
        <p:spPr>
          <a:xfrm>
            <a:off x="202095" y="1840269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6B98947-DEBB-40AF-8C56-C6A65155B05A}"/>
              </a:ext>
            </a:extLst>
          </p:cNvPr>
          <p:cNvSpPr txBox="1"/>
          <p:nvPr userDrawn="1"/>
        </p:nvSpPr>
        <p:spPr>
          <a:xfrm>
            <a:off x="202095" y="4198126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01AB3B0-9D9C-4DCF-AD0D-97258F1220DE}"/>
              </a:ext>
            </a:extLst>
          </p:cNvPr>
          <p:cNvGrpSpPr/>
          <p:nvPr userDrawn="1"/>
        </p:nvGrpSpPr>
        <p:grpSpPr>
          <a:xfrm>
            <a:off x="7342825" y="5999452"/>
            <a:ext cx="4629739" cy="615609"/>
            <a:chOff x="274638" y="4554931"/>
            <a:chExt cx="4722575" cy="62786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51D9E96-E652-43D7-AD1D-25CF06E38D9D}"/>
                </a:ext>
              </a:extLst>
            </p:cNvPr>
            <p:cNvSpPr txBox="1"/>
            <p:nvPr userDrawn="1"/>
          </p:nvSpPr>
          <p:spPr>
            <a:xfrm>
              <a:off x="274638" y="4554931"/>
              <a:ext cx="4722575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attle, WA	Jan 29–Feb 2, 2018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E10FA7F9-9C23-492E-BC3D-96F67220A1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59398" y="4685985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578877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7342825" y="5999452"/>
            <a:ext cx="4629739" cy="615609"/>
            <a:chOff x="274638" y="4554931"/>
            <a:chExt cx="4722575" cy="62786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4722575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attle, WA	Jan 29–Feb 2, 2018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2159398" y="4685985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3" y="2626221"/>
            <a:ext cx="11045195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 keep transform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7" y="3412173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grow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7" y="4198126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succee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1840269"/>
            <a:ext cx="253186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lear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75F147-F187-406F-B1C7-8708AB3B7EBF}"/>
              </a:ext>
            </a:extLst>
          </p:cNvPr>
          <p:cNvSpPr txBox="1"/>
          <p:nvPr userDrawn="1"/>
        </p:nvSpPr>
        <p:spPr>
          <a:xfrm>
            <a:off x="4927287" y="1055246"/>
            <a:ext cx="2955598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dream</a:t>
            </a:r>
          </a:p>
        </p:txBody>
      </p:sp>
    </p:spTree>
    <p:extLst>
      <p:ext uri="{BB962C8B-B14F-4D97-AF65-F5344CB8AC3E}">
        <p14:creationId xmlns:p14="http://schemas.microsoft.com/office/powerpoint/2010/main" val="2699705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2523935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3386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754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5437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513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5237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48739" y="1021270"/>
            <a:ext cx="5729195" cy="238326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>
            <a:noAutofit/>
          </a:bodyPr>
          <a:lstStyle>
            <a:lvl1pPr marL="232701" indent="-232701">
              <a:spcBef>
                <a:spcPts val="329"/>
              </a:spcBef>
              <a:spcAft>
                <a:spcPts val="494"/>
              </a:spcAft>
              <a:buFont typeface="Wingdings" panose="05000000000000000000" pitchFamily="2" charset="2"/>
              <a:buChar char="§"/>
              <a:defRPr sz="2000"/>
            </a:lvl1pPr>
            <a:lvl2pPr marL="463550" indent="-192088">
              <a:buSzPct val="70000"/>
              <a:buFont typeface="Segoe UI" panose="020B0502040204020203" pitchFamily="34" charset="0"/>
              <a:buChar char="­"/>
              <a:tabLst>
                <a:tab pos="1146175" algn="l"/>
              </a:tabLst>
              <a:defRPr sz="1600"/>
            </a:lvl2pPr>
            <a:lvl3pPr marL="914400" indent="-184150">
              <a:tabLst>
                <a:tab pos="1146175" algn="l"/>
              </a:tabLst>
              <a:defRPr sz="1200"/>
            </a:lvl3pPr>
            <a:lvl4pPr marL="1196975" indent="-185738">
              <a:tabLst>
                <a:tab pos="1146175" algn="l"/>
              </a:tabLst>
              <a:defRPr sz="1200"/>
            </a:lvl4pPr>
            <a:lvl5pPr marL="1481138" indent="-185738">
              <a:tabLst>
                <a:tab pos="1546225" algn="l"/>
              </a:tabLs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348738" y="3497913"/>
            <a:ext cx="5729195" cy="238326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>
            <a:noAutofit/>
          </a:bodyPr>
          <a:lstStyle>
            <a:lvl1pPr marL="232701" indent="-232701">
              <a:spcBef>
                <a:spcPts val="329"/>
              </a:spcBef>
              <a:spcAft>
                <a:spcPts val="494"/>
              </a:spcAft>
              <a:buFont typeface="Wingdings" panose="05000000000000000000" pitchFamily="2" charset="2"/>
              <a:buChar char="§"/>
              <a:defRPr sz="2000"/>
            </a:lvl1pPr>
            <a:lvl2pPr marL="463550" indent="-192088">
              <a:buSzPct val="70000"/>
              <a:buFont typeface="Segoe UI" panose="020B0502040204020203" pitchFamily="34" charset="0"/>
              <a:buChar char="­"/>
              <a:tabLst>
                <a:tab pos="1146175" algn="l"/>
              </a:tabLst>
              <a:defRPr sz="1600"/>
            </a:lvl2pPr>
            <a:lvl3pPr marL="914400" indent="-184150">
              <a:tabLst>
                <a:tab pos="1146175" algn="l"/>
              </a:tabLst>
              <a:defRPr sz="1200"/>
            </a:lvl3pPr>
            <a:lvl4pPr marL="1196975" indent="-185738">
              <a:tabLst>
                <a:tab pos="1146175" algn="l"/>
              </a:tabLst>
              <a:defRPr sz="1200"/>
            </a:lvl4pPr>
            <a:lvl5pPr marL="1481138" indent="-185738">
              <a:tabLst>
                <a:tab pos="1546225" algn="l"/>
              </a:tabLs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6190011" y="1021270"/>
            <a:ext cx="5729195" cy="238326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>
            <a:noAutofit/>
          </a:bodyPr>
          <a:lstStyle>
            <a:lvl1pPr marL="232701" indent="-232701">
              <a:spcBef>
                <a:spcPts val="329"/>
              </a:spcBef>
              <a:spcAft>
                <a:spcPts val="494"/>
              </a:spcAft>
              <a:buFont typeface="Wingdings" panose="05000000000000000000" pitchFamily="2" charset="2"/>
              <a:buChar char="§"/>
              <a:defRPr sz="2000"/>
            </a:lvl1pPr>
            <a:lvl2pPr marL="463550" indent="-192088">
              <a:buSzPct val="70000"/>
              <a:buFont typeface="Segoe UI" panose="020B0502040204020203" pitchFamily="34" charset="0"/>
              <a:buChar char="­"/>
              <a:tabLst>
                <a:tab pos="1146175" algn="l"/>
              </a:tabLst>
              <a:defRPr sz="1600"/>
            </a:lvl2pPr>
            <a:lvl3pPr marL="914400" indent="-184150">
              <a:tabLst>
                <a:tab pos="1146175" algn="l"/>
              </a:tabLst>
              <a:defRPr sz="1200"/>
            </a:lvl3pPr>
            <a:lvl4pPr marL="1196975" indent="-185738">
              <a:tabLst>
                <a:tab pos="1146175" algn="l"/>
              </a:tabLst>
              <a:defRPr sz="1200"/>
            </a:lvl4pPr>
            <a:lvl5pPr marL="1481138" indent="-185738">
              <a:tabLst>
                <a:tab pos="1546225" algn="l"/>
              </a:tabLs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6190010" y="3497913"/>
            <a:ext cx="5729195" cy="2383260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>
            <a:noAutofit/>
          </a:bodyPr>
          <a:lstStyle>
            <a:lvl1pPr marL="232701" indent="-232701">
              <a:spcBef>
                <a:spcPts val="329"/>
              </a:spcBef>
              <a:spcAft>
                <a:spcPts val="494"/>
              </a:spcAft>
              <a:buFont typeface="Wingdings" panose="05000000000000000000" pitchFamily="2" charset="2"/>
              <a:buChar char="§"/>
              <a:defRPr sz="2000"/>
            </a:lvl1pPr>
            <a:lvl2pPr marL="463550" indent="-192088">
              <a:buSzPct val="70000"/>
              <a:buFont typeface="Segoe UI" panose="020B0502040204020203" pitchFamily="34" charset="0"/>
              <a:buChar char="­"/>
              <a:tabLst>
                <a:tab pos="1146175" algn="l"/>
              </a:tabLst>
              <a:defRPr sz="1600"/>
            </a:lvl2pPr>
            <a:lvl3pPr marL="914400" indent="-184150">
              <a:tabLst>
                <a:tab pos="1146175" algn="l"/>
              </a:tabLst>
              <a:defRPr sz="1200"/>
            </a:lvl3pPr>
            <a:lvl4pPr marL="1196975" indent="-185738">
              <a:tabLst>
                <a:tab pos="1146175" algn="l"/>
              </a:tabLst>
              <a:defRPr sz="1200"/>
            </a:lvl4pPr>
            <a:lvl5pPr marL="1481138" indent="-185738">
              <a:tabLst>
                <a:tab pos="1546225" algn="l"/>
              </a:tabLs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0842171" cy="6438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algn="l" defTabSz="108789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kern="1200" spc="-58" baseline="0" dirty="0">
                <a:solidFill>
                  <a:srgbClr val="505050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6548581"/>
            <a:ext cx="12192000" cy="32789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0" y="6567055"/>
            <a:ext cx="12191999" cy="290945"/>
          </a:xfrm>
          <a:prstGeom prst="rect">
            <a:avLst/>
          </a:prstGeom>
        </p:spPr>
        <p:txBody>
          <a:bodyPr vert="horz" lIns="75301" tIns="37650" rIns="75301" bIns="37650" rtlCol="0" anchor="ctr" anchorCtr="0"/>
          <a:lstStyle>
            <a:defPPr>
              <a:defRPr lang="en-US"/>
            </a:defPPr>
            <a:lvl1pPr algn="ctr">
              <a:defRPr lang="en-US" sz="800" smtClean="0">
                <a:solidFill>
                  <a:schemeClr val="accent1"/>
                </a:solidFill>
              </a:defRPr>
            </a:lvl1pPr>
          </a:lstStyle>
          <a:p>
            <a:pPr defTabSz="768113"/>
            <a:r>
              <a:rPr sz="1000">
                <a:solidFill>
                  <a:schemeClr val="bg1"/>
                </a:solidFill>
                <a:latin typeface="+mn-lt"/>
              </a:rPr>
              <a:t>Microsoft Confidentia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1" y="6567055"/>
            <a:ext cx="3438659" cy="290945"/>
          </a:xfrm>
          <a:prstGeom prst="rect">
            <a:avLst/>
          </a:prstGeom>
          <a:noFill/>
        </p:spPr>
        <p:txBody>
          <a:bodyPr wrap="square" lIns="182880" tIns="146304" rIns="182880" bIns="146304" rtlCol="0" anchor="ctr" anchorCtr="0">
            <a:noAutofit/>
          </a:bodyPr>
          <a:lstStyle/>
          <a:p>
            <a:pPr defTabSz="768113">
              <a:spcAft>
                <a:spcPts val="600"/>
              </a:spcAft>
              <a:buSzPct val="70000"/>
              <a:buFont typeface="Wingdings 3" pitchFamily="18" charset="2"/>
              <a:buNone/>
            </a:pPr>
            <a:r>
              <a:rPr lang="en-US" sz="1000">
                <a:solidFill>
                  <a:schemeClr val="bg1"/>
                </a:solidFill>
                <a:latin typeface="+mn-lt"/>
              </a:rPr>
              <a:t>C&amp;E | Commercial Licensing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0395284" y="6567055"/>
            <a:ext cx="1748590" cy="290945"/>
          </a:xfrm>
          <a:prstGeom prst="rect">
            <a:avLst/>
          </a:prstGeom>
        </p:spPr>
        <p:txBody>
          <a:bodyPr anchor="ctr" anchorCtr="0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 defTabSz="768113"/>
            <a:fld id="{AD484C01-4DF4-48E7-B3F6-D86EB32553F5}" type="slidenum">
              <a:rPr lang="en-US" smtClean="0"/>
              <a:pPr defTabSz="7681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21629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950756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0841393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33412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051968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8955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2007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fidentiality slid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020772" y="2291365"/>
            <a:ext cx="10249783" cy="1009695"/>
            <a:chOff x="1041241" y="2198265"/>
            <a:chExt cx="10455312" cy="1029795"/>
          </a:xfrm>
        </p:grpSpPr>
        <p:sp>
          <p:nvSpPr>
            <p:cNvPr id="3" name="laptop"/>
            <p:cNvSpPr>
              <a:spLocks noChangeAspect="1" noEditPoints="1"/>
            </p:cNvSpPr>
            <p:nvPr userDrawn="1"/>
          </p:nvSpPr>
          <p:spPr bwMode="auto">
            <a:xfrm>
              <a:off x="9891754" y="2198265"/>
              <a:ext cx="1417556" cy="843914"/>
            </a:xfrm>
            <a:custGeom>
              <a:avLst/>
              <a:gdLst>
                <a:gd name="T0" fmla="*/ 212 w 257"/>
                <a:gd name="T1" fmla="*/ 107 h 153"/>
                <a:gd name="T2" fmla="*/ 43 w 257"/>
                <a:gd name="T3" fmla="*/ 107 h 153"/>
                <a:gd name="T4" fmla="*/ 43 w 257"/>
                <a:gd name="T5" fmla="*/ 0 h 153"/>
                <a:gd name="T6" fmla="*/ 212 w 257"/>
                <a:gd name="T7" fmla="*/ 0 h 153"/>
                <a:gd name="T8" fmla="*/ 212 w 257"/>
                <a:gd name="T9" fmla="*/ 107 h 153"/>
                <a:gd name="T10" fmla="*/ 43 w 257"/>
                <a:gd name="T11" fmla="*/ 107 h 153"/>
                <a:gd name="T12" fmla="*/ 0 w 257"/>
                <a:gd name="T13" fmla="*/ 153 h 153"/>
                <a:gd name="T14" fmla="*/ 257 w 257"/>
                <a:gd name="T15" fmla="*/ 153 h 153"/>
                <a:gd name="T16" fmla="*/ 212 w 257"/>
                <a:gd name="T17" fmla="*/ 10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153">
                  <a:moveTo>
                    <a:pt x="212" y="107"/>
                  </a:moveTo>
                  <a:lnTo>
                    <a:pt x="43" y="107"/>
                  </a:lnTo>
                  <a:lnTo>
                    <a:pt x="43" y="0"/>
                  </a:lnTo>
                  <a:lnTo>
                    <a:pt x="212" y="0"/>
                  </a:lnTo>
                  <a:lnTo>
                    <a:pt x="212" y="107"/>
                  </a:lnTo>
                  <a:moveTo>
                    <a:pt x="43" y="107"/>
                  </a:moveTo>
                  <a:lnTo>
                    <a:pt x="0" y="153"/>
                  </a:lnTo>
                  <a:lnTo>
                    <a:pt x="257" y="153"/>
                  </a:lnTo>
                  <a:lnTo>
                    <a:pt x="212" y="10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" name="phone"/>
            <p:cNvSpPr>
              <a:spLocks noChangeAspect="1" noEditPoints="1"/>
            </p:cNvSpPr>
            <p:nvPr userDrawn="1"/>
          </p:nvSpPr>
          <p:spPr bwMode="auto">
            <a:xfrm>
              <a:off x="4177456" y="2253648"/>
              <a:ext cx="473065" cy="757539"/>
            </a:xfrm>
            <a:custGeom>
              <a:avLst/>
              <a:gdLst>
                <a:gd name="T0" fmla="*/ 148 w 148"/>
                <a:gd name="T1" fmla="*/ 112 h 237"/>
                <a:gd name="T2" fmla="*/ 148 w 148"/>
                <a:gd name="T3" fmla="*/ 237 h 237"/>
                <a:gd name="T4" fmla="*/ 0 w 148"/>
                <a:gd name="T5" fmla="*/ 237 h 237"/>
                <a:gd name="T6" fmla="*/ 0 w 148"/>
                <a:gd name="T7" fmla="*/ 0 h 237"/>
                <a:gd name="T8" fmla="*/ 148 w 148"/>
                <a:gd name="T9" fmla="*/ 0 h 237"/>
                <a:gd name="T10" fmla="*/ 148 w 148"/>
                <a:gd name="T11" fmla="*/ 112 h 237"/>
                <a:gd name="T12" fmla="*/ 0 w 148"/>
                <a:gd name="T13" fmla="*/ 29 h 237"/>
                <a:gd name="T14" fmla="*/ 148 w 148"/>
                <a:gd name="T15" fmla="*/ 29 h 237"/>
                <a:gd name="T16" fmla="*/ 0 w 148"/>
                <a:gd name="T17" fmla="*/ 172 h 237"/>
                <a:gd name="T18" fmla="*/ 148 w 148"/>
                <a:gd name="T19" fmla="*/ 172 h 237"/>
                <a:gd name="T20" fmla="*/ 66 w 148"/>
                <a:gd name="T21" fmla="*/ 204 h 237"/>
                <a:gd name="T22" fmla="*/ 82 w 148"/>
                <a:gd name="T23" fmla="*/ 20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8" h="237">
                  <a:moveTo>
                    <a:pt x="148" y="112"/>
                  </a:moveTo>
                  <a:lnTo>
                    <a:pt x="148" y="237"/>
                  </a:lnTo>
                  <a:lnTo>
                    <a:pt x="0" y="237"/>
                  </a:lnTo>
                  <a:lnTo>
                    <a:pt x="0" y="0"/>
                  </a:lnTo>
                  <a:lnTo>
                    <a:pt x="148" y="0"/>
                  </a:lnTo>
                  <a:lnTo>
                    <a:pt x="148" y="112"/>
                  </a:lnTo>
                  <a:moveTo>
                    <a:pt x="0" y="29"/>
                  </a:moveTo>
                  <a:lnTo>
                    <a:pt x="148" y="29"/>
                  </a:lnTo>
                  <a:moveTo>
                    <a:pt x="0" y="172"/>
                  </a:moveTo>
                  <a:lnTo>
                    <a:pt x="148" y="172"/>
                  </a:lnTo>
                  <a:moveTo>
                    <a:pt x="66" y="204"/>
                  </a:moveTo>
                  <a:lnTo>
                    <a:pt x="82" y="204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tablet_2"/>
            <p:cNvSpPr>
              <a:spLocks noChangeAspect="1" noEditPoints="1"/>
            </p:cNvSpPr>
            <p:nvPr userDrawn="1"/>
          </p:nvSpPr>
          <p:spPr bwMode="auto">
            <a:xfrm>
              <a:off x="6815622" y="2222769"/>
              <a:ext cx="1118473" cy="819293"/>
            </a:xfrm>
            <a:custGeom>
              <a:avLst/>
              <a:gdLst>
                <a:gd name="T0" fmla="*/ 243 w 243"/>
                <a:gd name="T1" fmla="*/ 83 h 178"/>
                <a:gd name="T2" fmla="*/ 243 w 243"/>
                <a:gd name="T3" fmla="*/ 178 h 178"/>
                <a:gd name="T4" fmla="*/ 0 w 243"/>
                <a:gd name="T5" fmla="*/ 178 h 178"/>
                <a:gd name="T6" fmla="*/ 0 w 243"/>
                <a:gd name="T7" fmla="*/ 0 h 178"/>
                <a:gd name="T8" fmla="*/ 243 w 243"/>
                <a:gd name="T9" fmla="*/ 0 h 178"/>
                <a:gd name="T10" fmla="*/ 243 w 243"/>
                <a:gd name="T11" fmla="*/ 83 h 178"/>
                <a:gd name="T12" fmla="*/ 113 w 243"/>
                <a:gd name="T13" fmla="*/ 147 h 178"/>
                <a:gd name="T14" fmla="*/ 129 w 243"/>
                <a:gd name="T15" fmla="*/ 14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3" h="178">
                  <a:moveTo>
                    <a:pt x="243" y="83"/>
                  </a:moveTo>
                  <a:lnTo>
                    <a:pt x="243" y="178"/>
                  </a:lnTo>
                  <a:lnTo>
                    <a:pt x="0" y="178"/>
                  </a:lnTo>
                  <a:lnTo>
                    <a:pt x="0" y="0"/>
                  </a:lnTo>
                  <a:lnTo>
                    <a:pt x="243" y="0"/>
                  </a:lnTo>
                  <a:lnTo>
                    <a:pt x="243" y="83"/>
                  </a:lnTo>
                  <a:moveTo>
                    <a:pt x="113" y="147"/>
                  </a:moveTo>
                  <a:lnTo>
                    <a:pt x="129" y="14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camera"/>
            <p:cNvSpPr>
              <a:spLocks noChangeAspect="1" noEditPoints="1"/>
            </p:cNvSpPr>
            <p:nvPr userDrawn="1"/>
          </p:nvSpPr>
          <p:spPr bwMode="auto">
            <a:xfrm>
              <a:off x="1041241" y="2295852"/>
              <a:ext cx="842296" cy="673131"/>
            </a:xfrm>
            <a:custGeom>
              <a:avLst/>
              <a:gdLst>
                <a:gd name="T0" fmla="*/ 0 w 330"/>
                <a:gd name="T1" fmla="*/ 24 h 264"/>
                <a:gd name="T2" fmla="*/ 87 w 330"/>
                <a:gd name="T3" fmla="*/ 24 h 264"/>
                <a:gd name="T4" fmla="*/ 111 w 330"/>
                <a:gd name="T5" fmla="*/ 0 h 264"/>
                <a:gd name="T6" fmla="*/ 217 w 330"/>
                <a:gd name="T7" fmla="*/ 0 h 264"/>
                <a:gd name="T8" fmla="*/ 242 w 330"/>
                <a:gd name="T9" fmla="*/ 24 h 264"/>
                <a:gd name="T10" fmla="*/ 330 w 330"/>
                <a:gd name="T11" fmla="*/ 24 h 264"/>
                <a:gd name="T12" fmla="*/ 330 w 330"/>
                <a:gd name="T13" fmla="*/ 264 h 264"/>
                <a:gd name="T14" fmla="*/ 0 w 330"/>
                <a:gd name="T15" fmla="*/ 264 h 264"/>
                <a:gd name="T16" fmla="*/ 0 w 330"/>
                <a:gd name="T17" fmla="*/ 24 h 264"/>
                <a:gd name="T18" fmla="*/ 165 w 330"/>
                <a:gd name="T19" fmla="*/ 221 h 264"/>
                <a:gd name="T20" fmla="*/ 242 w 330"/>
                <a:gd name="T21" fmla="*/ 144 h 264"/>
                <a:gd name="T22" fmla="*/ 165 w 330"/>
                <a:gd name="T23" fmla="*/ 67 h 264"/>
                <a:gd name="T24" fmla="*/ 88 w 330"/>
                <a:gd name="T25" fmla="*/ 144 h 264"/>
                <a:gd name="T26" fmla="*/ 165 w 330"/>
                <a:gd name="T27" fmla="*/ 221 h 264"/>
                <a:gd name="T28" fmla="*/ 42 w 330"/>
                <a:gd name="T29" fmla="*/ 73 h 264"/>
                <a:gd name="T30" fmla="*/ 48 w 330"/>
                <a:gd name="T31" fmla="*/ 67 h 264"/>
                <a:gd name="T32" fmla="*/ 42 w 330"/>
                <a:gd name="T33" fmla="*/ 61 h 264"/>
                <a:gd name="T34" fmla="*/ 36 w 330"/>
                <a:gd name="T35" fmla="*/ 67 h 264"/>
                <a:gd name="T36" fmla="*/ 42 w 330"/>
                <a:gd name="T37" fmla="*/ 73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0" h="264">
                  <a:moveTo>
                    <a:pt x="0" y="24"/>
                  </a:moveTo>
                  <a:cubicBezTo>
                    <a:pt x="87" y="24"/>
                    <a:pt x="87" y="24"/>
                    <a:pt x="87" y="24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42" y="24"/>
                    <a:pt x="242" y="24"/>
                    <a:pt x="242" y="24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64"/>
                    <a:pt x="330" y="264"/>
                    <a:pt x="330" y="264"/>
                  </a:cubicBezTo>
                  <a:cubicBezTo>
                    <a:pt x="0" y="264"/>
                    <a:pt x="0" y="264"/>
                    <a:pt x="0" y="264"/>
                  </a:cubicBezTo>
                  <a:lnTo>
                    <a:pt x="0" y="24"/>
                  </a:lnTo>
                  <a:close/>
                  <a:moveTo>
                    <a:pt x="165" y="221"/>
                  </a:moveTo>
                  <a:cubicBezTo>
                    <a:pt x="208" y="221"/>
                    <a:pt x="242" y="187"/>
                    <a:pt x="242" y="144"/>
                  </a:cubicBezTo>
                  <a:cubicBezTo>
                    <a:pt x="242" y="101"/>
                    <a:pt x="208" y="67"/>
                    <a:pt x="165" y="67"/>
                  </a:cubicBezTo>
                  <a:cubicBezTo>
                    <a:pt x="123" y="67"/>
                    <a:pt x="88" y="101"/>
                    <a:pt x="88" y="144"/>
                  </a:cubicBezTo>
                  <a:cubicBezTo>
                    <a:pt x="88" y="187"/>
                    <a:pt x="123" y="221"/>
                    <a:pt x="165" y="221"/>
                  </a:cubicBezTo>
                  <a:close/>
                  <a:moveTo>
                    <a:pt x="42" y="73"/>
                  </a:moveTo>
                  <a:cubicBezTo>
                    <a:pt x="45" y="73"/>
                    <a:pt x="48" y="70"/>
                    <a:pt x="48" y="67"/>
                  </a:cubicBezTo>
                  <a:cubicBezTo>
                    <a:pt x="48" y="64"/>
                    <a:pt x="45" y="61"/>
                    <a:pt x="42" y="61"/>
                  </a:cubicBezTo>
                  <a:cubicBezTo>
                    <a:pt x="38" y="61"/>
                    <a:pt x="36" y="64"/>
                    <a:pt x="36" y="67"/>
                  </a:cubicBezTo>
                  <a:cubicBezTo>
                    <a:pt x="36" y="70"/>
                    <a:pt x="38" y="73"/>
                    <a:pt x="42" y="73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Multiplication Sign 8"/>
            <p:cNvSpPr/>
            <p:nvPr userDrawn="1"/>
          </p:nvSpPr>
          <p:spPr bwMode="auto">
            <a:xfrm>
              <a:off x="1654939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Multiplication Sign 9"/>
            <p:cNvSpPr/>
            <p:nvPr userDrawn="1"/>
          </p:nvSpPr>
          <p:spPr bwMode="auto">
            <a:xfrm>
              <a:off x="4406053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Multiplication Sign 10"/>
            <p:cNvSpPr/>
            <p:nvPr userDrawn="1"/>
          </p:nvSpPr>
          <p:spPr bwMode="auto">
            <a:xfrm>
              <a:off x="7703328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Multiplication Sign 12"/>
            <p:cNvSpPr/>
            <p:nvPr userDrawn="1"/>
          </p:nvSpPr>
          <p:spPr bwMode="auto">
            <a:xfrm>
              <a:off x="11039358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5" name="TextBox 14"/>
          <p:cNvSpPr txBox="1"/>
          <p:nvPr userDrawn="1"/>
        </p:nvSpPr>
        <p:spPr>
          <a:xfrm>
            <a:off x="629379" y="4403248"/>
            <a:ext cx="10933243" cy="2163685"/>
          </a:xfrm>
          <a:prstGeom prst="rect">
            <a:avLst/>
          </a:prstGeom>
          <a:noFill/>
        </p:spPr>
        <p:txBody>
          <a:bodyPr wrap="none" lIns="179285" tIns="143428" rIns="179285" bIns="143428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157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</p:spTree>
    <p:extLst>
      <p:ext uri="{BB962C8B-B14F-4D97-AF65-F5344CB8AC3E}">
        <p14:creationId xmlns:p14="http://schemas.microsoft.com/office/powerpoint/2010/main" val="15643408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0011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0927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84856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95284" y="6567055"/>
            <a:ext cx="1748590" cy="290945"/>
          </a:xfrm>
          <a:prstGeom prst="rect">
            <a:avLst/>
          </a:prstGeom>
        </p:spPr>
        <p:txBody>
          <a:bodyPr/>
          <a:lstStyle/>
          <a:p>
            <a:fld id="{7951DEE1-6EA0-43BF-BD3F-0C979016FE7E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3380051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1555617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5111317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3583262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4679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9666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96093" y="2857236"/>
            <a:ext cx="5067762" cy="766329"/>
          </a:xfrm>
        </p:spPr>
        <p:txBody>
          <a:bodyPr lIns="0" tIns="0" rIns="0" bIns="0" anchor="b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6470" b="0" kern="1200" cap="none" spc="-147" baseline="0" dirty="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198478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1323" y="6067483"/>
            <a:ext cx="8442338" cy="53111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1568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© 2018 Microsoft Corporation. All rights reserved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8C2AC3-3C3C-4191-BCD0-638C86C58D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8212" y="3045996"/>
            <a:ext cx="3637818" cy="786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9317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4F0D041-9353-478C-900A-F61E874D1F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448212" y="3045996"/>
            <a:ext cx="3637818" cy="786859"/>
          </a:xfrm>
          <a:prstGeom prst="rect">
            <a:avLst/>
          </a:prstGeom>
        </p:spPr>
      </p:pic>
      <p:sp>
        <p:nvSpPr>
          <p:cNvPr id="7" name="Text Box 3">
            <a:extLst>
              <a:ext uri="{FF2B5EF4-FFF2-40B4-BE49-F238E27FC236}">
                <a16:creationId xmlns:a16="http://schemas.microsoft.com/office/drawing/2014/main" id="{21205FA5-C8EF-4EE9-BE82-AC55AC8DEBF7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261322" y="6067483"/>
            <a:ext cx="8046243" cy="53111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1568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© 2018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4984158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2865F0D-1243-4103-BAFC-1A16D7F75C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8"/>
          <a:stretch/>
        </p:blipFill>
        <p:spPr>
          <a:xfrm>
            <a:off x="0" y="0"/>
            <a:ext cx="12213772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F062316-BAC6-4C78-9742-8DB621C08C42}"/>
              </a:ext>
            </a:extLst>
          </p:cNvPr>
          <p:cNvSpPr/>
          <p:nvPr userDrawn="1"/>
        </p:nvSpPr>
        <p:spPr bwMode="auto">
          <a:xfrm rot="5400000" flipH="1">
            <a:off x="2677886" y="-2677886"/>
            <a:ext cx="6858000" cy="12213772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66000">
                <a:srgbClr val="000000">
                  <a:alpha val="60000"/>
                </a:srgbClr>
              </a:gs>
              <a:gs pos="99000">
                <a:srgbClr val="000000">
                  <a:alpha val="60000"/>
                </a:srgbClr>
              </a:gs>
            </a:gsLst>
            <a:lin ang="60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solidFill>
                  <a:sysClr val="windowText" lastClr="000000"/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10" name="MS logo white - EMF" descr="Microsoft logo white text version">
            <a:extLst>
              <a:ext uri="{FF2B5EF4-FFF2-40B4-BE49-F238E27FC236}">
                <a16:creationId xmlns:a16="http://schemas.microsoft.com/office/drawing/2014/main" id="{54529838-769C-435F-9EA0-CC52775E86F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8562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6" hidden="1"/>
          <p:cNvSpPr txBox="1">
            <a:spLocks/>
          </p:cNvSpPr>
          <p:nvPr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E901D344-ED89-49CF-99A7-86594AEA4B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635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A99162F-3F7B-2242-A1B2-486A63B6C5DF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685800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F4F531-1753-1544-8A42-F788362A04E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288157B8-476F-EA4F-A047-5A8BD09DED6D}"/>
              </a:ext>
            </a:extLst>
          </p:cNvPr>
          <p:cNvSpPr txBox="1">
            <a:spLocks/>
          </p:cNvSpPr>
          <p:nvPr userDrawn="1"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113A430-F6A1-4E86-9240-781A33179C75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457200" y="1866900"/>
            <a:ext cx="11277599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248845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0" y="0"/>
            <a:ext cx="12188481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359258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5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057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38F91980-4640-4420-B101-C9BEC37A10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9E379F3-BC61-44ED-8F9B-54F8B85025ED}"/>
              </a:ext>
            </a:extLst>
          </p:cNvPr>
          <p:cNvSpPr txBox="1"/>
          <p:nvPr userDrawn="1"/>
        </p:nvSpPr>
        <p:spPr>
          <a:xfrm>
            <a:off x="586581" y="4218495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ADB113-B00E-4752-81DB-AE332342DD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87" t="16931" r="33333" b="24211"/>
          <a:stretch/>
        </p:blipFill>
        <p:spPr bwMode="black">
          <a:xfrm>
            <a:off x="5098119" y="585788"/>
            <a:ext cx="7093880" cy="62722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EAA312A-DD58-46FD-BCDC-F49B62DD9C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84200" y="2322537"/>
            <a:ext cx="3012187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5935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in front of a crowd&#10;&#10;Description generated with very high confidence">
            <a:extLst>
              <a:ext uri="{FF2B5EF4-FFF2-40B4-BE49-F238E27FC236}">
                <a16:creationId xmlns:a16="http://schemas.microsoft.com/office/drawing/2014/main" id="{ADC57F9E-658E-424C-9EF1-3587089C95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583" t="10804" r="39161" b="19692"/>
          <a:stretch/>
        </p:blipFill>
        <p:spPr>
          <a:xfrm>
            <a:off x="5333998" y="0"/>
            <a:ext cx="6858001" cy="6858000"/>
          </a:xfrm>
          <a:prstGeom prst="rect">
            <a:avLst/>
          </a:prstGeom>
        </p:spPr>
      </p:pic>
      <p:pic>
        <p:nvPicPr>
          <p:cNvPr id="10" name="MS logo gray - EMF" descr="Microsoft logo, gray text version">
            <a:extLst>
              <a:ext uri="{FF2B5EF4-FFF2-40B4-BE49-F238E27FC236}">
                <a16:creationId xmlns:a16="http://schemas.microsoft.com/office/drawing/2014/main" id="{B802B7FF-9FAE-427A-B679-4364FE2DB5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731E8BB-BB76-41F9-856D-368DE9900663}"/>
              </a:ext>
            </a:extLst>
          </p:cNvPr>
          <p:cNvSpPr txBox="1"/>
          <p:nvPr userDrawn="1"/>
        </p:nvSpPr>
        <p:spPr>
          <a:xfrm>
            <a:off x="586581" y="4219064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3" name="Picture 12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29E6D70F-8056-4653-91E4-BE7FAAFEBA5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4200" y="2322537"/>
            <a:ext cx="3012188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8704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76BBF407-647E-4A0E-932C-4B9EBA6AC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08988" y="589607"/>
            <a:ext cx="3200400" cy="457200"/>
          </a:xfrm>
        </p:spPr>
        <p:txBody>
          <a:bodyPr lIns="0" tIns="0" rIns="0" bIns="0"/>
          <a:lstStyle>
            <a:lvl1pPr marL="0" indent="0" algn="r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/>
              <a:t>Session code</a:t>
            </a:r>
          </a:p>
        </p:txBody>
      </p:sp>
      <p:pic>
        <p:nvPicPr>
          <p:cNvPr id="8" name="MS logo white - EMF" descr="Microsoft logo white text version">
            <a:extLst>
              <a:ext uri="{FF2B5EF4-FFF2-40B4-BE49-F238E27FC236}">
                <a16:creationId xmlns:a16="http://schemas.microsoft.com/office/drawing/2014/main" id="{F4DDC873-B78F-4A52-9091-6AB1225F43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3445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429095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976130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25210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7687558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016498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4606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236424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0" y="0"/>
            <a:ext cx="12184961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3592580"/>
          </a:xfrm>
          <a:prstGeom prst="rect">
            <a:avLst/>
          </a:prstGeom>
          <a:solidFill>
            <a:schemeClr val="accent5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5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80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7EC8612-FBEA-4C6D-AF35-4F67D1B3D2B2}"/>
              </a:ext>
            </a:extLst>
          </p:cNvPr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lnSpc>
                <a:spcPct val="90000"/>
              </a:lnSpc>
              <a:defRPr sz="4000">
                <a:gradFill>
                  <a:gsLst>
                    <a:gs pos="54867">
                      <a:schemeClr val="bg1"/>
                    </a:gs>
                    <a:gs pos="72000">
                      <a:schemeClr val="bg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825831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993904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2448675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961189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63170689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12648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12648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57066C-5133-4E22-AE58-F2101DA24D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356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126480" cy="498598"/>
          </a:xfrm>
          <a:noFill/>
        </p:spPr>
        <p:txBody>
          <a:bodyPr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C853EF-249B-4DEC-B679-038CCEA0B9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873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13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548806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540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12737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284392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7.xml"/><Relationship Id="rId4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9" Type="http://schemas.openxmlformats.org/officeDocument/2006/relationships/slideLayout" Target="../slideLayouts/slideLayout46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34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9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40.xml"/><Relationship Id="rId38" Type="http://schemas.openxmlformats.org/officeDocument/2006/relationships/slideLayout" Target="../slideLayouts/slideLayout45.xml"/><Relationship Id="rId46" Type="http://schemas.openxmlformats.org/officeDocument/2006/relationships/image" Target="../media/image1.png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36.xml"/><Relationship Id="rId41" Type="http://schemas.openxmlformats.org/officeDocument/2006/relationships/slideLayout" Target="../slideLayouts/slideLayout48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9.xml"/><Relationship Id="rId37" Type="http://schemas.openxmlformats.org/officeDocument/2006/relationships/slideLayout" Target="../slideLayouts/slideLayout44.xml"/><Relationship Id="rId40" Type="http://schemas.openxmlformats.org/officeDocument/2006/relationships/slideLayout" Target="../slideLayouts/slideLayout47.xml"/><Relationship Id="rId45" Type="http://schemas.openxmlformats.org/officeDocument/2006/relationships/theme" Target="../theme/theme3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slideLayout" Target="../slideLayouts/slideLayout38.xml"/><Relationship Id="rId44" Type="http://schemas.openxmlformats.org/officeDocument/2006/relationships/slideLayout" Target="../slideLayouts/slideLayout51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35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5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26" Type="http://schemas.openxmlformats.org/officeDocument/2006/relationships/slideLayout" Target="../slideLayouts/slideLayout77.xml"/><Relationship Id="rId3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72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slideLayout" Target="../slideLayouts/slideLayout76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71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slideLayout" Target="../slideLayouts/slideLayout75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slideLayout" Target="../slideLayouts/slideLayout74.xml"/><Relationship Id="rId28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slideLayout" Target="../slideLayouts/slideLayout73.xml"/><Relationship Id="rId27" Type="http://schemas.openxmlformats.org/officeDocument/2006/relationships/slideLayout" Target="../slideLayouts/slideLayout78.xml"/><Relationship Id="rId30" Type="http://schemas.openxmlformats.org/officeDocument/2006/relationships/image" Target="../media/image13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82.xml"/><Relationship Id="rId21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5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slideLayout" Target="../slideLayouts/slideLayout99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24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23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89.xml"/><Relationship Id="rId19" Type="http://schemas.openxmlformats.org/officeDocument/2006/relationships/slideLayout" Target="../slideLayouts/slideLayout98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Relationship Id="rId22" Type="http://schemas.openxmlformats.org/officeDocument/2006/relationships/slideLayout" Target="../slideLayouts/slideLayout101.xml"/><Relationship Id="rId27" Type="http://schemas.openxmlformats.org/officeDocument/2006/relationships/image" Target="../media/image17.emf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26" Type="http://schemas.openxmlformats.org/officeDocument/2006/relationships/slideLayout" Target="../slideLayouts/slideLayout130.xml"/><Relationship Id="rId39" Type="http://schemas.openxmlformats.org/officeDocument/2006/relationships/slideLayout" Target="../slideLayouts/slideLayout143.xml"/><Relationship Id="rId21" Type="http://schemas.openxmlformats.org/officeDocument/2006/relationships/slideLayout" Target="../slideLayouts/slideLayout125.xml"/><Relationship Id="rId34" Type="http://schemas.openxmlformats.org/officeDocument/2006/relationships/slideLayout" Target="../slideLayouts/slideLayout138.xml"/><Relationship Id="rId42" Type="http://schemas.openxmlformats.org/officeDocument/2006/relationships/slideLayout" Target="../slideLayouts/slideLayout146.xml"/><Relationship Id="rId47" Type="http://schemas.openxmlformats.org/officeDocument/2006/relationships/slideLayout" Target="../slideLayouts/slideLayout151.xml"/><Relationship Id="rId50" Type="http://schemas.openxmlformats.org/officeDocument/2006/relationships/slideLayout" Target="../slideLayouts/slideLayout154.xml"/><Relationship Id="rId55" Type="http://schemas.openxmlformats.org/officeDocument/2006/relationships/slideLayout" Target="../slideLayouts/slideLayout159.xml"/><Relationship Id="rId63" Type="http://schemas.openxmlformats.org/officeDocument/2006/relationships/theme" Target="../theme/theme6.xml"/><Relationship Id="rId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124.xml"/><Relationship Id="rId29" Type="http://schemas.openxmlformats.org/officeDocument/2006/relationships/slideLayout" Target="../slideLayouts/slideLayout133.xml"/><Relationship Id="rId41" Type="http://schemas.openxmlformats.org/officeDocument/2006/relationships/slideLayout" Target="../slideLayouts/slideLayout145.xml"/><Relationship Id="rId54" Type="http://schemas.openxmlformats.org/officeDocument/2006/relationships/slideLayout" Target="../slideLayouts/slideLayout158.xml"/><Relationship Id="rId62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24" Type="http://schemas.openxmlformats.org/officeDocument/2006/relationships/slideLayout" Target="../slideLayouts/slideLayout128.xml"/><Relationship Id="rId32" Type="http://schemas.openxmlformats.org/officeDocument/2006/relationships/slideLayout" Target="../slideLayouts/slideLayout136.xml"/><Relationship Id="rId37" Type="http://schemas.openxmlformats.org/officeDocument/2006/relationships/slideLayout" Target="../slideLayouts/slideLayout141.xml"/><Relationship Id="rId40" Type="http://schemas.openxmlformats.org/officeDocument/2006/relationships/slideLayout" Target="../slideLayouts/slideLayout144.xml"/><Relationship Id="rId45" Type="http://schemas.openxmlformats.org/officeDocument/2006/relationships/slideLayout" Target="../slideLayouts/slideLayout149.xml"/><Relationship Id="rId53" Type="http://schemas.openxmlformats.org/officeDocument/2006/relationships/slideLayout" Target="../slideLayouts/slideLayout157.xml"/><Relationship Id="rId58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slideLayout" Target="../slideLayouts/slideLayout127.xml"/><Relationship Id="rId28" Type="http://schemas.openxmlformats.org/officeDocument/2006/relationships/slideLayout" Target="../slideLayouts/slideLayout132.xml"/><Relationship Id="rId36" Type="http://schemas.openxmlformats.org/officeDocument/2006/relationships/slideLayout" Target="../slideLayouts/slideLayout140.xml"/><Relationship Id="rId49" Type="http://schemas.openxmlformats.org/officeDocument/2006/relationships/slideLayout" Target="../slideLayouts/slideLayout153.xml"/><Relationship Id="rId57" Type="http://schemas.openxmlformats.org/officeDocument/2006/relationships/slideLayout" Target="../slideLayouts/slideLayout161.xml"/><Relationship Id="rId61" Type="http://schemas.openxmlformats.org/officeDocument/2006/relationships/slideLayout" Target="../slideLayouts/slideLayout165.xml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31" Type="http://schemas.openxmlformats.org/officeDocument/2006/relationships/slideLayout" Target="../slideLayouts/slideLayout135.xml"/><Relationship Id="rId44" Type="http://schemas.openxmlformats.org/officeDocument/2006/relationships/slideLayout" Target="../slideLayouts/slideLayout148.xml"/><Relationship Id="rId52" Type="http://schemas.openxmlformats.org/officeDocument/2006/relationships/slideLayout" Target="../slideLayouts/slideLayout156.xml"/><Relationship Id="rId6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slideLayout" Target="../slideLayouts/slideLayout126.xml"/><Relationship Id="rId27" Type="http://schemas.openxmlformats.org/officeDocument/2006/relationships/slideLayout" Target="../slideLayouts/slideLayout131.xml"/><Relationship Id="rId30" Type="http://schemas.openxmlformats.org/officeDocument/2006/relationships/slideLayout" Target="../slideLayouts/slideLayout134.xml"/><Relationship Id="rId35" Type="http://schemas.openxmlformats.org/officeDocument/2006/relationships/slideLayout" Target="../slideLayouts/slideLayout139.xml"/><Relationship Id="rId43" Type="http://schemas.openxmlformats.org/officeDocument/2006/relationships/slideLayout" Target="../slideLayouts/slideLayout147.xml"/><Relationship Id="rId48" Type="http://schemas.openxmlformats.org/officeDocument/2006/relationships/slideLayout" Target="../slideLayouts/slideLayout152.xml"/><Relationship Id="rId56" Type="http://schemas.openxmlformats.org/officeDocument/2006/relationships/slideLayout" Target="../slideLayouts/slideLayout160.xml"/><Relationship Id="rId64" Type="http://schemas.openxmlformats.org/officeDocument/2006/relationships/image" Target="../media/image13.emf"/><Relationship Id="rId8" Type="http://schemas.openxmlformats.org/officeDocument/2006/relationships/slideLayout" Target="../slideLayouts/slideLayout112.xml"/><Relationship Id="rId51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5" Type="http://schemas.openxmlformats.org/officeDocument/2006/relationships/slideLayout" Target="../slideLayouts/slideLayout129.xml"/><Relationship Id="rId33" Type="http://schemas.openxmlformats.org/officeDocument/2006/relationships/slideLayout" Target="../slideLayouts/slideLayout137.xml"/><Relationship Id="rId38" Type="http://schemas.openxmlformats.org/officeDocument/2006/relationships/slideLayout" Target="../slideLayouts/slideLayout142.xml"/><Relationship Id="rId46" Type="http://schemas.openxmlformats.org/officeDocument/2006/relationships/slideLayout" Target="../slideLayouts/slideLayout150.xml"/><Relationship Id="rId59" Type="http://schemas.openxmlformats.org/officeDocument/2006/relationships/slideLayout" Target="../slideLayouts/slideLayout16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1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69.xml"/><Relationship Id="rId21" Type="http://schemas.openxmlformats.org/officeDocument/2006/relationships/image" Target="../media/image33.png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68.xml"/><Relationship Id="rId16" Type="http://schemas.openxmlformats.org/officeDocument/2006/relationships/slideLayout" Target="../slideLayouts/slideLayout182.xml"/><Relationship Id="rId20" Type="http://schemas.openxmlformats.org/officeDocument/2006/relationships/image" Target="../media/image32.png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76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slideLayout" Target="../slideLayouts/slideLayout197.xml"/><Relationship Id="rId18" Type="http://schemas.openxmlformats.org/officeDocument/2006/relationships/slideLayout" Target="../slideLayouts/slideLayout202.xml"/><Relationship Id="rId26" Type="http://schemas.openxmlformats.org/officeDocument/2006/relationships/theme" Target="../theme/theme8.xml"/><Relationship Id="rId3" Type="http://schemas.openxmlformats.org/officeDocument/2006/relationships/slideLayout" Target="../slideLayouts/slideLayout187.xml"/><Relationship Id="rId21" Type="http://schemas.openxmlformats.org/officeDocument/2006/relationships/slideLayout" Target="../slideLayouts/slideLayout205.xml"/><Relationship Id="rId7" Type="http://schemas.openxmlformats.org/officeDocument/2006/relationships/slideLayout" Target="../slideLayouts/slideLayout191.xml"/><Relationship Id="rId12" Type="http://schemas.openxmlformats.org/officeDocument/2006/relationships/slideLayout" Target="../slideLayouts/slideLayout196.xml"/><Relationship Id="rId17" Type="http://schemas.openxmlformats.org/officeDocument/2006/relationships/slideLayout" Target="../slideLayouts/slideLayout201.xml"/><Relationship Id="rId25" Type="http://schemas.openxmlformats.org/officeDocument/2006/relationships/slideLayout" Target="../slideLayouts/slideLayout209.xml"/><Relationship Id="rId2" Type="http://schemas.openxmlformats.org/officeDocument/2006/relationships/slideLayout" Target="../slideLayouts/slideLayout186.xml"/><Relationship Id="rId16" Type="http://schemas.openxmlformats.org/officeDocument/2006/relationships/slideLayout" Target="../slideLayouts/slideLayout200.xml"/><Relationship Id="rId20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slideLayout" Target="../slideLayouts/slideLayout195.xml"/><Relationship Id="rId24" Type="http://schemas.openxmlformats.org/officeDocument/2006/relationships/slideLayout" Target="../slideLayouts/slideLayout208.xml"/><Relationship Id="rId5" Type="http://schemas.openxmlformats.org/officeDocument/2006/relationships/slideLayout" Target="../slideLayouts/slideLayout189.xml"/><Relationship Id="rId15" Type="http://schemas.openxmlformats.org/officeDocument/2006/relationships/slideLayout" Target="../slideLayouts/slideLayout199.xml"/><Relationship Id="rId23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194.xml"/><Relationship Id="rId19" Type="http://schemas.openxmlformats.org/officeDocument/2006/relationships/slideLayout" Target="../slideLayouts/slideLayout203.xml"/><Relationship Id="rId4" Type="http://schemas.openxmlformats.org/officeDocument/2006/relationships/slideLayout" Target="../slideLayouts/slideLayout188.xml"/><Relationship Id="rId9" Type="http://schemas.openxmlformats.org/officeDocument/2006/relationships/slideLayout" Target="../slideLayouts/slideLayout193.xml"/><Relationship Id="rId14" Type="http://schemas.openxmlformats.org/officeDocument/2006/relationships/slideLayout" Target="../slideLayouts/slideLayout198.xml"/><Relationship Id="rId22" Type="http://schemas.openxmlformats.org/officeDocument/2006/relationships/slideLayout" Target="../slideLayouts/slideLayout206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6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82"/>
            <a:ext cx="11653521" cy="204328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9290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ransition>
    <p:fade/>
  </p:transition>
  <p:txStyles>
    <p:titleStyle>
      <a:lvl1pPr algn="l" defTabSz="914118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53" marR="0" indent="-336053" algn="l" defTabSz="9141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34" marR="0" indent="-236481" algn="l" defTabSz="9141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23" marR="0" indent="-224036" algn="l" defTabSz="9141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159" marR="0" indent="-224036" algn="l" defTabSz="9141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194" marR="0" indent="-224036" algn="l" defTabSz="9141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822" indent="-228529" algn="l" defTabSz="9141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82" indent="-228529" algn="l" defTabSz="9141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41" indent="-228529" algn="l" defTabSz="9141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99" indent="-228529" algn="l" defTabSz="9141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118" algn="l" defTabSz="9141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176" algn="l" defTabSz="9141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234" algn="l" defTabSz="9141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293" algn="l" defTabSz="9141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352" algn="l" defTabSz="9141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410" algn="l" defTabSz="9141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469" algn="l" defTabSz="9141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85">
          <p15:clr>
            <a:srgbClr val="5ACBF0"/>
          </p15:clr>
        </p15:guide>
        <p15:guide id="3" pos="799">
          <p15:clr>
            <a:srgbClr val="5ACBF0"/>
          </p15:clr>
        </p15:guide>
        <p15:guide id="4" pos="1414">
          <p15:clr>
            <a:srgbClr val="5ACBF0"/>
          </p15:clr>
        </p15:guide>
        <p15:guide id="5" pos="2028">
          <p15:clr>
            <a:srgbClr val="5ACBF0"/>
          </p15:clr>
        </p15:guide>
        <p15:guide id="6" pos="2643">
          <p15:clr>
            <a:srgbClr val="5ACBF0"/>
          </p15:clr>
        </p15:guide>
        <p15:guide id="7" pos="3257">
          <p15:clr>
            <a:srgbClr val="5ACBF0"/>
          </p15:clr>
        </p15:guide>
        <p15:guide id="8" pos="3872">
          <p15:clr>
            <a:srgbClr val="5ACBF0"/>
          </p15:clr>
        </p15:guide>
        <p15:guide id="9" pos="4487">
          <p15:clr>
            <a:srgbClr val="5ACBF0"/>
          </p15:clr>
        </p15:guide>
        <p15:guide id="10" pos="5101">
          <p15:clr>
            <a:srgbClr val="5ACBF0"/>
          </p15:clr>
        </p15:guide>
        <p15:guide id="11" pos="5716">
          <p15:clr>
            <a:srgbClr val="5ACBF0"/>
          </p15:clr>
        </p15:guide>
        <p15:guide id="12" pos="6330">
          <p15:clr>
            <a:srgbClr val="5ACBF0"/>
          </p15:clr>
        </p15:guide>
        <p15:guide id="13" pos="6945">
          <p15:clr>
            <a:srgbClr val="5ACBF0"/>
          </p15:clr>
        </p15:guide>
        <p15:guide id="14" pos="7559">
          <p15:clr>
            <a:srgbClr val="5ACBF0"/>
          </p15:clr>
        </p15:guide>
        <p15:guide id="15" pos="8174">
          <p15:clr>
            <a:srgbClr val="5ACBF0"/>
          </p15:clr>
        </p15:guide>
        <p15:guide id="16" pos="307">
          <p15:clr>
            <a:srgbClr val="C35EA4"/>
          </p15:clr>
        </p15:guide>
        <p15:guide id="17" pos="8051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0804848" cy="646042"/>
          </a:xfrm>
          <a:prstGeom prst="rect">
            <a:avLst/>
          </a:prstGeom>
          <a:solidFill>
            <a:srgbClr val="F2F2F2"/>
          </a:solidFill>
        </p:spPr>
        <p:txBody>
          <a:bodyPr vert="horz" lIns="380893" tIns="152357" rIns="53325" bIns="53325" rtlCol="0" anchor="ctr">
            <a:normAutofit/>
          </a:bodyPr>
          <a:lstStyle/>
          <a:p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228600" y="835572"/>
            <a:ext cx="11737427" cy="55731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8952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/>
  <p:txStyles>
    <p:titleStyle>
      <a:lvl1pPr marL="0" algn="l" defTabSz="1087896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rgbClr val="505050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341313" indent="-341313" algn="l" defTabSz="1087896" rtl="0" eaLnBrk="1" latinLnBrk="0" hangingPunct="1">
        <a:spcBef>
          <a:spcPct val="20000"/>
        </a:spcBef>
        <a:buClr>
          <a:srgbClr val="0072C6"/>
        </a:buClr>
        <a:buSzPct val="100000"/>
        <a:buFont typeface="Wingdings" pitchFamily="2" charset="2"/>
        <a:buChar char="§"/>
        <a:defRPr sz="3200" kern="1200">
          <a:solidFill>
            <a:srgbClr val="0072C6"/>
          </a:solidFill>
          <a:latin typeface="+mj-lt"/>
          <a:ea typeface="Segoe UI" pitchFamily="34" charset="0"/>
          <a:cs typeface="Segoe UI" pitchFamily="34" charset="0"/>
        </a:defRPr>
      </a:lvl1pPr>
      <a:lvl2pPr marL="738188" indent="-292100" algn="l" defTabSz="1087896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rgbClr val="505050"/>
          </a:solidFill>
          <a:latin typeface="+mj-lt"/>
          <a:ea typeface="Segoe UI" pitchFamily="34" charset="0"/>
          <a:cs typeface="Segoe UI" pitchFamily="34" charset="0"/>
        </a:defRPr>
      </a:lvl2pPr>
      <a:lvl3pPr marL="1025525" indent="-215900" algn="l" defTabSz="10878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rgbClr val="505050"/>
          </a:solidFill>
          <a:latin typeface="+mj-lt"/>
          <a:ea typeface="Segoe UI" pitchFamily="34" charset="0"/>
          <a:cs typeface="Segoe UI" pitchFamily="34" charset="0"/>
        </a:defRPr>
      </a:lvl3pPr>
      <a:lvl4pPr marL="1311275" indent="-176213" algn="l" defTabSz="1087896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505050"/>
          </a:solidFill>
          <a:latin typeface="+mj-lt"/>
          <a:ea typeface="Segoe UI" pitchFamily="34" charset="0"/>
          <a:cs typeface="Segoe UI" pitchFamily="34" charset="0"/>
        </a:defRPr>
      </a:lvl4pPr>
      <a:lvl5pPr marL="1543050" indent="-179388" algn="l" defTabSz="1087896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rgbClr val="505050"/>
          </a:solidFill>
          <a:latin typeface="+mj-lt"/>
          <a:ea typeface="Segoe UI" pitchFamily="34" charset="0"/>
          <a:cs typeface="Segoe UI" pitchFamily="34" charset="0"/>
        </a:defRPr>
      </a:lvl5pPr>
      <a:lvl6pPr marL="2991716" indent="-271973" algn="l" defTabSz="1087896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5663" indent="-271973" algn="l" defTabSz="1087896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79613" indent="-271973" algn="l" defTabSz="1087896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3560" indent="-271973" algn="l" defTabSz="1087896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789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949" algn="l" defTabSz="108789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7896" algn="l" defTabSz="108789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1846" algn="l" defTabSz="108789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5793" algn="l" defTabSz="108789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9741" algn="l" defTabSz="108789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3689" algn="l" defTabSz="108789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7638" algn="l" defTabSz="108789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586" algn="l" defTabSz="108789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6922" y="210380"/>
            <a:ext cx="11655840" cy="633681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6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296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700" r:id="rId27"/>
    <p:sldLayoutId id="2147483701" r:id="rId28"/>
    <p:sldLayoutId id="2147483702" r:id="rId29"/>
    <p:sldLayoutId id="2147483703" r:id="rId30"/>
    <p:sldLayoutId id="2147483704" r:id="rId31"/>
    <p:sldLayoutId id="2147483705" r:id="rId32"/>
    <p:sldLayoutId id="2147483706" r:id="rId33"/>
    <p:sldLayoutId id="2147483707" r:id="rId34"/>
    <p:sldLayoutId id="2147483708" r:id="rId35"/>
    <p:sldLayoutId id="2147483709" r:id="rId36"/>
    <p:sldLayoutId id="2147483710" r:id="rId37"/>
    <p:sldLayoutId id="2147483711" r:id="rId38"/>
    <p:sldLayoutId id="2147483712" r:id="rId39"/>
    <p:sldLayoutId id="2147483713" r:id="rId40"/>
    <p:sldLayoutId id="2147483714" r:id="rId41"/>
    <p:sldLayoutId id="2147483715" r:id="rId42"/>
    <p:sldLayoutId id="2147483716" r:id="rId43"/>
    <p:sldLayoutId id="2147483717" r:id="rId44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n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370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8" r:id="rId19"/>
    <p:sldLayoutId id="2147483739" r:id="rId20"/>
    <p:sldLayoutId id="2147483740" r:id="rId21"/>
    <p:sldLayoutId id="2147483741" r:id="rId22"/>
    <p:sldLayoutId id="2147483742" r:id="rId23"/>
    <p:sldLayoutId id="2147483743" r:id="rId24"/>
    <p:sldLayoutId id="2147483744" r:id="rId25"/>
    <p:sldLayoutId id="2147483745" r:id="rId26"/>
    <p:sldLayoutId id="2147483746" r:id="rId27"/>
    <p:sldLayoutId id="2147483747" r:id="rId2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496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3977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  <p:sldLayoutId id="2147483767" r:id="rId19"/>
    <p:sldLayoutId id="2147483768" r:id="rId20"/>
    <p:sldLayoutId id="2147483769" r:id="rId21"/>
    <p:sldLayoutId id="2147483770" r:id="rId22"/>
    <p:sldLayoutId id="2147483771" r:id="rId23"/>
    <p:sldLayoutId id="2147483772" r:id="rId24"/>
    <p:sldLayoutId id="2147483773" r:id="rId25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4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466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  <p:sldLayoutId id="2147483787" r:id="rId13"/>
    <p:sldLayoutId id="2147483788" r:id="rId14"/>
    <p:sldLayoutId id="2147483789" r:id="rId15"/>
    <p:sldLayoutId id="2147483790" r:id="rId16"/>
    <p:sldLayoutId id="2147483791" r:id="rId17"/>
    <p:sldLayoutId id="2147483792" r:id="rId18"/>
    <p:sldLayoutId id="2147483793" r:id="rId19"/>
    <p:sldLayoutId id="2147483794" r:id="rId20"/>
    <p:sldLayoutId id="2147483795" r:id="rId21"/>
    <p:sldLayoutId id="2147483796" r:id="rId22"/>
    <p:sldLayoutId id="2147483797" r:id="rId23"/>
    <p:sldLayoutId id="2147483798" r:id="rId24"/>
    <p:sldLayoutId id="2147483799" r:id="rId25"/>
    <p:sldLayoutId id="2147483800" r:id="rId26"/>
    <p:sldLayoutId id="2147483801" r:id="rId27"/>
    <p:sldLayoutId id="2147483802" r:id="rId28"/>
    <p:sldLayoutId id="2147483803" r:id="rId29"/>
    <p:sldLayoutId id="2147483804" r:id="rId30"/>
    <p:sldLayoutId id="2147483805" r:id="rId31"/>
    <p:sldLayoutId id="2147483806" r:id="rId32"/>
    <p:sldLayoutId id="2147483807" r:id="rId33"/>
    <p:sldLayoutId id="2147483808" r:id="rId34"/>
    <p:sldLayoutId id="2147483809" r:id="rId35"/>
    <p:sldLayoutId id="2147483810" r:id="rId36"/>
    <p:sldLayoutId id="2147483811" r:id="rId37"/>
    <p:sldLayoutId id="2147483812" r:id="rId38"/>
    <p:sldLayoutId id="2147483813" r:id="rId39"/>
    <p:sldLayoutId id="2147483814" r:id="rId40"/>
    <p:sldLayoutId id="2147483815" r:id="rId41"/>
    <p:sldLayoutId id="2147483816" r:id="rId42"/>
    <p:sldLayoutId id="2147483817" r:id="rId43"/>
    <p:sldLayoutId id="2147483818" r:id="rId44"/>
    <p:sldLayoutId id="2147483819" r:id="rId45"/>
    <p:sldLayoutId id="2147483820" r:id="rId46"/>
    <p:sldLayoutId id="2147483821" r:id="rId47"/>
    <p:sldLayoutId id="2147483822" r:id="rId48"/>
    <p:sldLayoutId id="2147483823" r:id="rId49"/>
    <p:sldLayoutId id="2147483824" r:id="rId50"/>
    <p:sldLayoutId id="2147483825" r:id="rId51"/>
    <p:sldLayoutId id="2147483826" r:id="rId52"/>
    <p:sldLayoutId id="2147483827" r:id="rId53"/>
    <p:sldLayoutId id="2147483828" r:id="rId54"/>
    <p:sldLayoutId id="2147483829" r:id="rId55"/>
    <p:sldLayoutId id="2147483830" r:id="rId56"/>
    <p:sldLayoutId id="2147483831" r:id="rId57"/>
    <p:sldLayoutId id="2147483832" r:id="rId58"/>
    <p:sldLayoutId id="2147483833" r:id="rId59"/>
    <p:sldLayoutId id="2147483834" r:id="rId60"/>
    <p:sldLayoutId id="2147483835" r:id="rId61"/>
    <p:sldLayoutId id="2147483836" r:id="rId62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4464" y="334170"/>
            <a:ext cx="11384209" cy="8925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464" y="1794669"/>
            <a:ext cx="11384209" cy="36096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59288" y="2932713"/>
            <a:ext cx="6724751" cy="859326"/>
          </a:xfrm>
          <a:prstGeom prst="rect">
            <a:avLst/>
          </a:prstGeom>
        </p:spPr>
      </p:pic>
      <p:pic>
        <p:nvPicPr>
          <p:cNvPr id="8" name="Picture 7" descr="https://upload.wikimedia.org/wikipedia/commons/thumb/9/96/Microsoft_logo_(2012).svg/2000px-Microsoft_logo_(2012).svg.png"/>
          <p:cNvPicPr/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54982" y="-401216"/>
            <a:ext cx="1143000" cy="246380"/>
          </a:xfrm>
          <a:prstGeom prst="rect">
            <a:avLst/>
          </a:prstGeom>
          <a:noFill/>
          <a:extLst/>
        </p:spPr>
      </p:pic>
    </p:spTree>
    <p:extLst>
      <p:ext uri="{BB962C8B-B14F-4D97-AF65-F5344CB8AC3E}">
        <p14:creationId xmlns:p14="http://schemas.microsoft.com/office/powerpoint/2010/main" val="3961579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  <p:sldLayoutId id="2147483850" r:id="rId13"/>
    <p:sldLayoutId id="2147483851" r:id="rId14"/>
    <p:sldLayoutId id="2147483852" r:id="rId15"/>
    <p:sldLayoutId id="2147483853" r:id="rId16"/>
    <p:sldLayoutId id="2147483854" r:id="rId17"/>
    <p:sldLayoutId id="2147483855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kern="1200">
          <a:solidFill>
            <a:schemeClr val="bg1"/>
          </a:solidFill>
          <a:latin typeface="Segoe UI Light" panose="020B0502040204020203" pitchFamily="34" charset="0"/>
          <a:ea typeface="+mj-ea"/>
          <a:cs typeface="Segoe UI Light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74286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345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  <p:sldLayoutId id="2147483869" r:id="rId13"/>
    <p:sldLayoutId id="2147483870" r:id="rId14"/>
    <p:sldLayoutId id="2147483871" r:id="rId15"/>
    <p:sldLayoutId id="2147483872" r:id="rId16"/>
    <p:sldLayoutId id="2147483873" r:id="rId17"/>
    <p:sldLayoutId id="2147483874" r:id="rId18"/>
    <p:sldLayoutId id="2147483875" r:id="rId19"/>
    <p:sldLayoutId id="2147483876" r:id="rId20"/>
    <p:sldLayoutId id="2147483877" r:id="rId21"/>
    <p:sldLayoutId id="2147483878" r:id="rId22"/>
    <p:sldLayoutId id="2147483879" r:id="rId23"/>
    <p:sldLayoutId id="2147483880" r:id="rId24"/>
    <p:sldLayoutId id="2147483881" r:id="rId2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solidFill>
            <a:srgbClr val="505050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78D7"/>
        </a:buClr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78D7"/>
        </a:buClr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78D7"/>
        </a:buClr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78D7"/>
        </a:buClr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78D7"/>
        </a:buClr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hyperlink" Target="https://aidemos.microsoft.com/" TargetMode="Externa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idemos.microsoft.com/face-recognition" TargetMode="External"/><Relationship Id="rId7" Type="http://schemas.openxmlformats.org/officeDocument/2006/relationships/image" Target="../media/image45.png"/><Relationship Id="rId2" Type="http://schemas.openxmlformats.org/officeDocument/2006/relationships/hyperlink" Target="https://azure.microsoft.com/fr-fr/services/cognitive-services/face/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hyperlink" Target="https://aischool.microsoft.com/en-us/services/learning-paths/cognitive-services-face-api/in-browser-tutorials-face-api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hyperlink" Target="https://azure.microsoft.com/fr-fr/services/cognitive-services/text-analytics/" TargetMode="External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5" Type="http://schemas.openxmlformats.org/officeDocument/2006/relationships/hyperlink" Target="https://aischool.microsoft.com/en-us/services/learning-paths/cognitive-services-text-analytics" TargetMode="External"/><Relationship Id="rId4" Type="http://schemas.openxmlformats.org/officeDocument/2006/relationships/hyperlink" Target="https://aidemos.microsoft.com/text-analytics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aischool.microsoft.com/en-us/machine-learning/learning-paths/cognitive-services-computer-vision-api/in-browser-tutorials-extract-from-images" TargetMode="External"/><Relationship Id="rId2" Type="http://schemas.openxmlformats.org/officeDocument/2006/relationships/hyperlink" Target="https://azure.microsoft.com/fr-fr/services/cognitive-services/computer-vision" TargetMode="Externa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aidemos.microsoft.com/video-indexer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hyperlink" Target="https://www.videoindexer.ai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829940D-D58C-46D4-B73D-9E25CF87E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302" y="2091670"/>
            <a:ext cx="6276530" cy="1799462"/>
          </a:xfrm>
        </p:spPr>
        <p:txBody>
          <a:bodyPr/>
          <a:lstStyle/>
          <a:p>
            <a:pPr defTabSz="1087896">
              <a:spcBef>
                <a:spcPts val="0"/>
              </a:spcBef>
              <a:buClr>
                <a:srgbClr val="0072C6"/>
              </a:buClr>
              <a:buSzPct val="100000"/>
            </a:pPr>
            <a:r>
              <a:rPr lang="fr-FR" sz="4000" spc="0" dirty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  <a:latin typeface="+mj-lt"/>
              </a:rPr>
              <a:t>Cognitives Services</a:t>
            </a:r>
            <a:br>
              <a:rPr lang="fr-FR" sz="4000" spc="0" dirty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  <a:latin typeface="+mj-lt"/>
              </a:rPr>
            </a:br>
            <a:r>
              <a:rPr lang="fr-FR" sz="4000" spc="0" dirty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  <a:latin typeface="+mj-lt"/>
              </a:rPr>
              <a:t>Demos &amp; hands-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11E3EE-6C5A-4522-BD81-A2BC4A908E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6902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4967800-E7E1-4938-B7AE-1AC77D13C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141698"/>
            <a:ext cx="11655840" cy="899665"/>
          </a:xfrm>
        </p:spPr>
        <p:txBody>
          <a:bodyPr/>
          <a:lstStyle/>
          <a:p>
            <a:r>
              <a:rPr lang="en-US" dirty="0"/>
              <a:t>Demos &amp; hands-on</a:t>
            </a:r>
            <a:endParaRPr lang="fr-FR" dirty="0"/>
          </a:p>
        </p:txBody>
      </p:sp>
      <p:sp>
        <p:nvSpPr>
          <p:cNvPr id="3" name="TextBox 10">
            <a:extLst>
              <a:ext uri="{FF2B5EF4-FFF2-40B4-BE49-F238E27FC236}">
                <a16:creationId xmlns:a16="http://schemas.microsoft.com/office/drawing/2014/main" id="{725CE016-70C3-4E25-9947-541776FC8822}"/>
              </a:ext>
            </a:extLst>
          </p:cNvPr>
          <p:cNvSpPr txBox="1"/>
          <p:nvPr/>
        </p:nvSpPr>
        <p:spPr>
          <a:xfrm>
            <a:off x="379619" y="1786178"/>
            <a:ext cx="10660099" cy="2756974"/>
          </a:xfrm>
          <a:prstGeom prst="rect">
            <a:avLst/>
          </a:prstGeom>
          <a:noFill/>
        </p:spPr>
        <p:txBody>
          <a:bodyPr wrap="square" lIns="85725" tIns="42863" rIns="85725" bIns="42863" rtlCol="0" anchor="t">
            <a:spAutoFit/>
          </a:bodyPr>
          <a:lstStyle/>
          <a:p>
            <a:r>
              <a:rPr lang="fr-FR" sz="2400" dirty="0"/>
              <a:t>Demos and hands-on dans le site Microsoft AI </a:t>
            </a:r>
            <a:r>
              <a:rPr lang="fr-FR" sz="2400" dirty="0" err="1"/>
              <a:t>School</a:t>
            </a:r>
            <a:r>
              <a:rPr lang="fr-FR" sz="2400" dirty="0"/>
              <a:t> </a:t>
            </a:r>
          </a:p>
          <a:p>
            <a:r>
              <a:rPr lang="fr-FR" sz="1400" dirty="0">
                <a:hlinkClick r:id="rId2"/>
              </a:rPr>
              <a:t>https://aidemos.microsoft.com/</a:t>
            </a:r>
            <a:endParaRPr lang="fr-FR" dirty="0"/>
          </a:p>
          <a:p>
            <a:endParaRPr lang="fr-FR" sz="2400" dirty="0"/>
          </a:p>
          <a:p>
            <a:endParaRPr lang="fr-FR" sz="1400" dirty="0"/>
          </a:p>
          <a:p>
            <a:endParaRPr lang="fr-FR" sz="2400" dirty="0"/>
          </a:p>
          <a:p>
            <a:endParaRPr lang="fr-FR" sz="2400" dirty="0"/>
          </a:p>
          <a:p>
            <a:pPr marL="457200" marR="0" lvl="0" indent="-457200" algn="l" defTabSz="85725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fr-FR" sz="2400" dirty="0">
              <a:solidFill>
                <a:srgbClr val="0078D7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pic>
        <p:nvPicPr>
          <p:cNvPr id="5" name="Picture 4">
            <a:hlinkClick r:id="rId2"/>
            <a:extLst>
              <a:ext uri="{FF2B5EF4-FFF2-40B4-BE49-F238E27FC236}">
                <a16:creationId xmlns:a16="http://schemas.microsoft.com/office/drawing/2014/main" id="{75E58118-2A9D-44CC-921A-020350285A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080" y="3019607"/>
            <a:ext cx="11403080" cy="3553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50782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4967800-E7E1-4938-B7AE-1AC77D13C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141698"/>
            <a:ext cx="11655840" cy="899665"/>
          </a:xfrm>
        </p:spPr>
        <p:txBody>
          <a:bodyPr/>
          <a:lstStyle/>
          <a:p>
            <a:r>
              <a:rPr lang="en-US" dirty="0"/>
              <a:t>Demos &amp; hands-on</a:t>
            </a:r>
            <a:br>
              <a:rPr lang="en-US" dirty="0"/>
            </a:br>
            <a:r>
              <a:rPr lang="en-US" sz="3600" b="1" dirty="0"/>
              <a:t>Face API</a:t>
            </a:r>
            <a:endParaRPr lang="fr-FR" b="1" dirty="0"/>
          </a:p>
        </p:txBody>
      </p:sp>
      <p:sp>
        <p:nvSpPr>
          <p:cNvPr id="3" name="TextBox 10">
            <a:extLst>
              <a:ext uri="{FF2B5EF4-FFF2-40B4-BE49-F238E27FC236}">
                <a16:creationId xmlns:a16="http://schemas.microsoft.com/office/drawing/2014/main" id="{725CE016-70C3-4E25-9947-541776FC8822}"/>
              </a:ext>
            </a:extLst>
          </p:cNvPr>
          <p:cNvSpPr txBox="1"/>
          <p:nvPr/>
        </p:nvSpPr>
        <p:spPr>
          <a:xfrm>
            <a:off x="379619" y="1786178"/>
            <a:ext cx="10660099" cy="1317669"/>
          </a:xfrm>
          <a:prstGeom prst="rect">
            <a:avLst/>
          </a:prstGeom>
          <a:noFill/>
        </p:spPr>
        <p:txBody>
          <a:bodyPr wrap="square" lIns="85725" tIns="42863" rIns="85725" bIns="42863" rtlCol="0" anchor="t">
            <a:spAutoFit/>
          </a:bodyPr>
          <a:lstStyle/>
          <a:p>
            <a:endParaRPr lang="fr-FR" sz="2400" dirty="0"/>
          </a:p>
          <a:p>
            <a:r>
              <a:rPr lang="fr-FR" sz="1400" dirty="0">
                <a:hlinkClick r:id="rId2"/>
              </a:rPr>
              <a:t>https://azure.microsoft.com/fr-fr/services/cognitive-services/face/</a:t>
            </a:r>
            <a:endParaRPr lang="fr-FR" sz="1400" dirty="0"/>
          </a:p>
          <a:p>
            <a:r>
              <a:rPr lang="fr-FR" sz="1400" dirty="0">
                <a:hlinkClick r:id="rId3"/>
              </a:rPr>
              <a:t>https://aidemos.microsoft.com/face-recognition</a:t>
            </a:r>
            <a:endParaRPr lang="fr-FR" sz="1400" dirty="0"/>
          </a:p>
          <a:p>
            <a:r>
              <a:rPr lang="fr-FR" sz="1400" dirty="0">
                <a:hlinkClick r:id="rId4"/>
              </a:rPr>
              <a:t>https://aischool.microsoft.com/en-us/services/learning-paths/cognitive-services-face-api/in-browser-tutorials-face-api</a:t>
            </a:r>
            <a:endParaRPr lang="fr-FR" sz="1400" dirty="0"/>
          </a:p>
          <a:p>
            <a:endParaRPr lang="fr-FR" sz="1400" dirty="0"/>
          </a:p>
        </p:txBody>
      </p:sp>
      <p:pic>
        <p:nvPicPr>
          <p:cNvPr id="4" name="Picture 3">
            <a:hlinkClick r:id="rId3"/>
            <a:extLst>
              <a:ext uri="{FF2B5EF4-FFF2-40B4-BE49-F238E27FC236}">
                <a16:creationId xmlns:a16="http://schemas.microsoft.com/office/drawing/2014/main" id="{66EBC222-0314-4CA0-A9AB-BEDC8A4B83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04390" y="3180522"/>
            <a:ext cx="2557955" cy="2878994"/>
          </a:xfrm>
          <a:prstGeom prst="rect">
            <a:avLst/>
          </a:prstGeom>
        </p:spPr>
      </p:pic>
      <p:pic>
        <p:nvPicPr>
          <p:cNvPr id="5" name="Picture 4">
            <a:hlinkClick r:id="rId2"/>
            <a:extLst>
              <a:ext uri="{FF2B5EF4-FFF2-40B4-BE49-F238E27FC236}">
                <a16:creationId xmlns:a16="http://schemas.microsoft.com/office/drawing/2014/main" id="{8AB618C5-77C7-40EB-BB71-5FE8C89DE3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7309" y="3400798"/>
            <a:ext cx="3448966" cy="2658718"/>
          </a:xfrm>
          <a:prstGeom prst="rect">
            <a:avLst/>
          </a:prstGeom>
        </p:spPr>
      </p:pic>
      <p:pic>
        <p:nvPicPr>
          <p:cNvPr id="6" name="Picture 5">
            <a:hlinkClick r:id="rId4"/>
            <a:extLst>
              <a:ext uri="{FF2B5EF4-FFF2-40B4-BE49-F238E27FC236}">
                <a16:creationId xmlns:a16="http://schemas.microsoft.com/office/drawing/2014/main" id="{74298E15-8A57-48C6-A8EC-E38493BD720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50461" y="3314701"/>
            <a:ext cx="3716312" cy="2703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6773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4967800-E7E1-4938-B7AE-1AC77D13C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141698"/>
            <a:ext cx="11655840" cy="899665"/>
          </a:xfrm>
        </p:spPr>
        <p:txBody>
          <a:bodyPr/>
          <a:lstStyle/>
          <a:p>
            <a:r>
              <a:rPr lang="en-US" dirty="0"/>
              <a:t>Demos &amp; hands-on</a:t>
            </a:r>
            <a:br>
              <a:rPr lang="en-US" dirty="0"/>
            </a:br>
            <a:r>
              <a:rPr lang="fr-FR" sz="3200" b="1" dirty="0" err="1"/>
              <a:t>Text</a:t>
            </a:r>
            <a:r>
              <a:rPr lang="fr-FR" sz="3200" b="1" dirty="0"/>
              <a:t> Analytics</a:t>
            </a:r>
            <a:br>
              <a:rPr lang="fr-FR" sz="3200" b="1" dirty="0"/>
            </a:br>
            <a:endParaRPr lang="fr-FR" b="1" dirty="0"/>
          </a:p>
        </p:txBody>
      </p:sp>
      <p:sp>
        <p:nvSpPr>
          <p:cNvPr id="3" name="TextBox 10">
            <a:extLst>
              <a:ext uri="{FF2B5EF4-FFF2-40B4-BE49-F238E27FC236}">
                <a16:creationId xmlns:a16="http://schemas.microsoft.com/office/drawing/2014/main" id="{725CE016-70C3-4E25-9947-541776FC8822}"/>
              </a:ext>
            </a:extLst>
          </p:cNvPr>
          <p:cNvSpPr txBox="1"/>
          <p:nvPr/>
        </p:nvSpPr>
        <p:spPr>
          <a:xfrm>
            <a:off x="379619" y="1786178"/>
            <a:ext cx="10660099" cy="2603086"/>
          </a:xfrm>
          <a:prstGeom prst="rect">
            <a:avLst/>
          </a:prstGeom>
          <a:noFill/>
        </p:spPr>
        <p:txBody>
          <a:bodyPr wrap="square" lIns="85725" tIns="42863" rIns="85725" bIns="42863" rtlCol="0" anchor="t">
            <a:spAutoFit/>
          </a:bodyPr>
          <a:lstStyle/>
          <a:p>
            <a:endParaRPr lang="fr-FR" sz="2400" dirty="0"/>
          </a:p>
          <a:p>
            <a:r>
              <a:rPr lang="fr-FR" sz="1400" dirty="0">
                <a:hlinkClick r:id="rId3"/>
              </a:rPr>
              <a:t>https://azure.microsoft.com/fr-fr/services/cognitive-services/text-analytics/</a:t>
            </a:r>
            <a:endParaRPr lang="fr-FR" sz="1400" dirty="0"/>
          </a:p>
          <a:p>
            <a:r>
              <a:rPr lang="fr-FR" sz="1400" dirty="0">
                <a:hlinkClick r:id="rId4"/>
              </a:rPr>
              <a:t>https://aidemos.microsoft.com/text-analytics</a:t>
            </a:r>
            <a:endParaRPr lang="fr-FR" sz="1400" dirty="0"/>
          </a:p>
          <a:p>
            <a:r>
              <a:rPr lang="fr-FR" sz="1400" dirty="0">
                <a:hlinkClick r:id="rId5"/>
              </a:rPr>
              <a:t>https://aischool.microsoft.com/en-us/services/learning-paths/cognitive-services-text-analytics</a:t>
            </a:r>
            <a:endParaRPr lang="fr-FR" sz="1400" dirty="0"/>
          </a:p>
          <a:p>
            <a:endParaRPr lang="fr-FR" sz="2400" dirty="0"/>
          </a:p>
          <a:p>
            <a:endParaRPr lang="fr-FR" sz="2400" dirty="0"/>
          </a:p>
          <a:p>
            <a:pPr marL="457200" marR="0" lvl="0" indent="-457200" algn="l" defTabSz="85725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fr-FR" sz="2400" dirty="0">
              <a:solidFill>
                <a:srgbClr val="0078D7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pic>
        <p:nvPicPr>
          <p:cNvPr id="4" name="Picture 3">
            <a:hlinkClick r:id="rId4"/>
            <a:extLst>
              <a:ext uri="{FF2B5EF4-FFF2-40B4-BE49-F238E27FC236}">
                <a16:creationId xmlns:a16="http://schemas.microsoft.com/office/drawing/2014/main" id="{DE74EB0F-9FFF-49EA-BE85-575D4C589E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96564" y="3481463"/>
            <a:ext cx="2728291" cy="3297016"/>
          </a:xfrm>
          <a:prstGeom prst="rect">
            <a:avLst/>
          </a:prstGeom>
        </p:spPr>
      </p:pic>
      <p:pic>
        <p:nvPicPr>
          <p:cNvPr id="5" name="Picture 4">
            <a:hlinkClick r:id="rId5"/>
            <a:extLst>
              <a:ext uri="{FF2B5EF4-FFF2-40B4-BE49-F238E27FC236}">
                <a16:creationId xmlns:a16="http://schemas.microsoft.com/office/drawing/2014/main" id="{EF7E035B-57A0-40BB-93D0-615C8F11E7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20270" y="3899379"/>
            <a:ext cx="3453848" cy="2859230"/>
          </a:xfrm>
          <a:prstGeom prst="rect">
            <a:avLst/>
          </a:prstGeom>
        </p:spPr>
      </p:pic>
      <p:pic>
        <p:nvPicPr>
          <p:cNvPr id="6" name="Picture 5">
            <a:hlinkClick r:id="rId3"/>
            <a:extLst>
              <a:ext uri="{FF2B5EF4-FFF2-40B4-BE49-F238E27FC236}">
                <a16:creationId xmlns:a16="http://schemas.microsoft.com/office/drawing/2014/main" id="{AA5903B6-7AAB-4A8A-B1B6-B7FE337B07D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9701" y="4940499"/>
            <a:ext cx="4751448" cy="1843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39903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4967800-E7E1-4938-B7AE-1AC77D13C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141698"/>
            <a:ext cx="11655840" cy="899665"/>
          </a:xfrm>
        </p:spPr>
        <p:txBody>
          <a:bodyPr/>
          <a:lstStyle/>
          <a:p>
            <a:r>
              <a:rPr lang="en-US" dirty="0"/>
              <a:t>Demos &amp; hands-on</a:t>
            </a:r>
            <a:br>
              <a:rPr lang="en-US" dirty="0"/>
            </a:br>
            <a:r>
              <a:rPr lang="fr-FR" sz="3200" b="1" dirty="0"/>
              <a:t>Computer Vision</a:t>
            </a:r>
            <a:br>
              <a:rPr lang="fr-FR" sz="3200" b="1" dirty="0"/>
            </a:br>
            <a:endParaRPr lang="fr-FR" b="1" dirty="0"/>
          </a:p>
        </p:txBody>
      </p:sp>
      <p:sp>
        <p:nvSpPr>
          <p:cNvPr id="3" name="TextBox 10">
            <a:extLst>
              <a:ext uri="{FF2B5EF4-FFF2-40B4-BE49-F238E27FC236}">
                <a16:creationId xmlns:a16="http://schemas.microsoft.com/office/drawing/2014/main" id="{725CE016-70C3-4E25-9947-541776FC8822}"/>
              </a:ext>
            </a:extLst>
          </p:cNvPr>
          <p:cNvSpPr txBox="1"/>
          <p:nvPr/>
        </p:nvSpPr>
        <p:spPr>
          <a:xfrm>
            <a:off x="379619" y="1786178"/>
            <a:ext cx="10660099" cy="1710534"/>
          </a:xfrm>
          <a:prstGeom prst="rect">
            <a:avLst/>
          </a:prstGeom>
          <a:noFill/>
        </p:spPr>
        <p:txBody>
          <a:bodyPr wrap="square" lIns="85725" tIns="42863" rIns="85725" bIns="42863" rtlCol="0" anchor="t">
            <a:spAutoFit/>
          </a:bodyPr>
          <a:lstStyle/>
          <a:p>
            <a:r>
              <a:rPr lang="fr-FR" sz="1400" dirty="0">
                <a:hlinkClick r:id="rId2"/>
              </a:rPr>
              <a:t>https://azure.microsoft.com/fr-fr/services/cognitive-services/computer-vision</a:t>
            </a:r>
            <a:endParaRPr lang="fr-FR" sz="1400" dirty="0"/>
          </a:p>
          <a:p>
            <a:r>
              <a:rPr lang="fr-FR" sz="1400" dirty="0">
                <a:hlinkClick r:id="rId3"/>
              </a:rPr>
              <a:t>https://aischool.microsoft.com/en-us/machine-learning/learning-paths/cognitive-services-computer-vision-api/in-browser-tutorials-extract-from-images</a:t>
            </a:r>
            <a:endParaRPr lang="fr-FR" sz="1400" dirty="0"/>
          </a:p>
          <a:p>
            <a:endParaRPr lang="fr-FR" sz="1400" dirty="0"/>
          </a:p>
          <a:p>
            <a:pPr marL="457200" marR="0" lvl="0" indent="-457200" algn="l" defTabSz="85725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fr-FR" sz="2400" dirty="0">
              <a:solidFill>
                <a:srgbClr val="0078D7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pic>
        <p:nvPicPr>
          <p:cNvPr id="4" name="Picture 3">
            <a:hlinkClick r:id="rId2"/>
            <a:extLst>
              <a:ext uri="{FF2B5EF4-FFF2-40B4-BE49-F238E27FC236}">
                <a16:creationId xmlns:a16="http://schemas.microsoft.com/office/drawing/2014/main" id="{5C2379B6-05BB-4006-8AD5-F67FCE9482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619" y="3485768"/>
            <a:ext cx="3963169" cy="2640017"/>
          </a:xfrm>
          <a:prstGeom prst="rect">
            <a:avLst/>
          </a:prstGeom>
        </p:spPr>
      </p:pic>
      <p:pic>
        <p:nvPicPr>
          <p:cNvPr id="5" name="Picture 4">
            <a:hlinkClick r:id="rId3"/>
            <a:extLst>
              <a:ext uri="{FF2B5EF4-FFF2-40B4-BE49-F238E27FC236}">
                <a16:creationId xmlns:a16="http://schemas.microsoft.com/office/drawing/2014/main" id="{5989CB0A-E14A-4E03-84AC-BA25773E49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41674" y="3214850"/>
            <a:ext cx="2981685" cy="3033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15014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4967800-E7E1-4938-B7AE-1AC77D13C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141698"/>
            <a:ext cx="11655840" cy="899665"/>
          </a:xfrm>
        </p:spPr>
        <p:txBody>
          <a:bodyPr/>
          <a:lstStyle/>
          <a:p>
            <a:r>
              <a:rPr lang="en-US" dirty="0"/>
              <a:t>Demos &amp; hands-on</a:t>
            </a:r>
            <a:br>
              <a:rPr lang="en-US" dirty="0"/>
            </a:br>
            <a:r>
              <a:rPr lang="en-US" sz="3600" b="1" dirty="0"/>
              <a:t>Video Indexer</a:t>
            </a:r>
            <a:endParaRPr lang="fr-FR" b="1" dirty="0"/>
          </a:p>
        </p:txBody>
      </p:sp>
      <p:sp>
        <p:nvSpPr>
          <p:cNvPr id="3" name="TextBox 10">
            <a:extLst>
              <a:ext uri="{FF2B5EF4-FFF2-40B4-BE49-F238E27FC236}">
                <a16:creationId xmlns:a16="http://schemas.microsoft.com/office/drawing/2014/main" id="{725CE016-70C3-4E25-9947-541776FC8822}"/>
              </a:ext>
            </a:extLst>
          </p:cNvPr>
          <p:cNvSpPr txBox="1"/>
          <p:nvPr/>
        </p:nvSpPr>
        <p:spPr>
          <a:xfrm>
            <a:off x="379619" y="1786178"/>
            <a:ext cx="10660099" cy="1648979"/>
          </a:xfrm>
          <a:prstGeom prst="rect">
            <a:avLst/>
          </a:prstGeom>
          <a:noFill/>
        </p:spPr>
        <p:txBody>
          <a:bodyPr wrap="square" lIns="85725" tIns="42863" rIns="85725" bIns="42863" rtlCol="0" anchor="t">
            <a:spAutoFit/>
          </a:bodyPr>
          <a:lstStyle/>
          <a:p>
            <a:r>
              <a:rPr lang="fr-FR" sz="1400" dirty="0">
                <a:hlinkClick r:id="rId3"/>
              </a:rPr>
              <a:t>https://aidemos.microsoft.com/video-indexer</a:t>
            </a:r>
            <a:endParaRPr lang="fr-FR" sz="1400" dirty="0"/>
          </a:p>
          <a:p>
            <a:r>
              <a:rPr lang="fr-FR" sz="1400" dirty="0">
                <a:hlinkClick r:id="rId4"/>
              </a:rPr>
              <a:t>https://www.videoindexer.ai</a:t>
            </a:r>
            <a:endParaRPr lang="fr-FR" sz="1400" dirty="0"/>
          </a:p>
          <a:p>
            <a:endParaRPr lang="fr-FR" sz="2400" dirty="0"/>
          </a:p>
          <a:p>
            <a:pPr marL="457200" marR="0" lvl="0" indent="-457200" algn="l" defTabSz="857250" rtl="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fr-FR" sz="2400" dirty="0">
              <a:solidFill>
                <a:srgbClr val="0078D7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pic>
        <p:nvPicPr>
          <p:cNvPr id="4" name="Picture 3">
            <a:hlinkClick r:id="rId3"/>
            <a:extLst>
              <a:ext uri="{FF2B5EF4-FFF2-40B4-BE49-F238E27FC236}">
                <a16:creationId xmlns:a16="http://schemas.microsoft.com/office/drawing/2014/main" id="{D427D85A-E4E3-41FE-8ECC-2865819439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9619" y="3670298"/>
            <a:ext cx="5478117" cy="2756168"/>
          </a:xfrm>
          <a:prstGeom prst="rect">
            <a:avLst/>
          </a:prstGeom>
        </p:spPr>
      </p:pic>
      <p:pic>
        <p:nvPicPr>
          <p:cNvPr id="5" name="Picture 4">
            <a:hlinkClick r:id="rId4"/>
            <a:extLst>
              <a:ext uri="{FF2B5EF4-FFF2-40B4-BE49-F238E27FC236}">
                <a16:creationId xmlns:a16="http://schemas.microsoft.com/office/drawing/2014/main" id="{CE89E9A8-0CA2-484C-9EE7-1C44515A3A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03827" y="2525357"/>
            <a:ext cx="4036446" cy="3901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40120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EBC_2017">
  <a:themeElements>
    <a:clrScheme name="Custom 2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13B3"/>
      </a:accent2>
      <a:accent3>
        <a:srgbClr val="C6CFCF"/>
      </a:accent3>
      <a:accent4>
        <a:srgbClr val="00A4B3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2.xml><?xml version="1.0" encoding="utf-8"?>
<a:theme xmlns:a="http://schemas.openxmlformats.org/drawingml/2006/main" name="1_FY13 EPG Presentation Template_External_16x9_Light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6" id="{B13610D5-CC05-4DE4-A44B-3F14CC15178C}" vid="{369E5729-D12C-4FCC-82B7-DE82B4982EBF}"/>
    </a:ext>
  </a:extLst>
</a:theme>
</file>

<file path=ppt/theme/theme3.xml><?xml version="1.0" encoding="utf-8"?>
<a:theme xmlns:a="http://schemas.openxmlformats.org/drawingml/2006/main" name="WHITE TEMPLATE">
  <a:themeElements>
    <a:clrScheme name="MS-Marketing-2015-LIGHT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107C10"/>
      </a:accent3>
      <a:accent4>
        <a:srgbClr val="D83B01"/>
      </a:accent4>
      <a:accent5>
        <a:srgbClr val="505050"/>
      </a:accent5>
      <a:accent6>
        <a:srgbClr val="5C005C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_Marketing_16-9_LIGHT_DARK_Mar_2015_v4" id="{EAD18293-2B1A-4B3F-9CB1-0FE4CA57FCB9}" vid="{3D3B0E97-DA05-44FE-AC14-EABEBEC9696E}"/>
    </a:ext>
  </a:extLst>
</a:theme>
</file>

<file path=ppt/theme/theme4.xml><?xml version="1.0" encoding="utf-8"?>
<a:theme xmlns:a="http://schemas.openxmlformats.org/drawingml/2006/main" name="2_5-50173_Microsoft_Ready_Light_Template">
  <a:themeElements>
    <a:clrScheme name="Microsoft Ready Light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10D1621-7EC8-4B51-A678-36097813A578}" vid="{BABC4CDB-E230-49BE-A9F6-33781B02F17C}"/>
    </a:ext>
  </a:extLst>
</a:theme>
</file>

<file path=ppt/theme/theme5.xml><?xml version="1.0" encoding="utf-8"?>
<a:theme xmlns:a="http://schemas.openxmlformats.org/drawingml/2006/main" name="3_5-50201_Microsoft_Ready_Template">
  <a:themeElements>
    <a:clrScheme name="Microsoft Ready + Microsoft Inspir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737373"/>
      </a:accent3>
      <a:accent4>
        <a:srgbClr val="5C2D91"/>
      </a:accent4>
      <a:accent5>
        <a:srgbClr val="BAD80A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Breakout_Template.potx" id="{5F77714E-CA00-415A-8458-979F19FCEF73}" vid="{82C78859-7BB8-4D41-BFD2-BC7351C3FA4D}"/>
    </a:ext>
  </a:extLst>
</a:theme>
</file>

<file path=ppt/theme/theme6.xml><?xml version="1.0" encoding="utf-8"?>
<a:theme xmlns:a="http://schemas.openxmlformats.org/drawingml/2006/main" name="1_5-50173_Microsoft_Ready_Light_Template">
  <a:themeElements>
    <a:clrScheme name="Microsoft Ready Light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10D1621-7EC8-4B51-A678-36097813A578}" vid="{BABC4CDB-E230-49BE-A9F6-33781B02F17C}"/>
    </a:ext>
  </a:extLst>
</a:theme>
</file>

<file path=ppt/theme/theme7.xml><?xml version="1.0" encoding="utf-8"?>
<a:theme xmlns:a="http://schemas.openxmlformats.org/drawingml/2006/main" name="Modern DW">
  <a:themeElements>
    <a:clrScheme name="Custom 21">
      <a:dk1>
        <a:srgbClr val="505050"/>
      </a:dk1>
      <a:lt1>
        <a:srgbClr val="FFFFFF"/>
      </a:lt1>
      <a:dk2>
        <a:srgbClr val="002050"/>
      </a:dk2>
      <a:lt2>
        <a:srgbClr val="70C7FF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70C7FF"/>
      </a:hlink>
      <a:folHlink>
        <a:srgbClr val="0078D7"/>
      </a:folHlink>
    </a:clrScheme>
    <a:fontScheme name="Segoe 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-30664_S4_Q1_FY16_Light_Template">
  <a:themeElements>
    <a:clrScheme name="Custom 7">
      <a:dk1>
        <a:srgbClr val="000000"/>
      </a:dk1>
      <a:lt1>
        <a:srgbClr val="FFFFFF"/>
      </a:lt1>
      <a:dk2>
        <a:srgbClr val="0078D7"/>
      </a:dk2>
      <a:lt2>
        <a:srgbClr val="D2D2D2"/>
      </a:lt2>
      <a:accent1>
        <a:srgbClr val="0078D7"/>
      </a:accent1>
      <a:accent2>
        <a:srgbClr val="00188F"/>
      </a:accent2>
      <a:accent3>
        <a:srgbClr val="32145A"/>
      </a:accent3>
      <a:accent4>
        <a:srgbClr val="107C10"/>
      </a:accent4>
      <a:accent5>
        <a:srgbClr val="00BCF2"/>
      </a:accent5>
      <a:accent6>
        <a:srgbClr val="FFB900"/>
      </a:accent6>
      <a:hlink>
        <a:srgbClr val="94CFFF"/>
      </a:hlink>
      <a:folHlink>
        <a:srgbClr val="00205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lnSpc>
            <a:spcPct val="90000"/>
          </a:lnSpc>
          <a:spcAft>
            <a:spcPts val="600"/>
          </a:spcAft>
          <a:defRPr sz="1200" dirty="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4_Q1_FY16_Light_Template" id="{5EF6B031-E4E9-47DE-A00B-C70C6050C087}" vid="{E591D91A-0F30-468B-BAC3-EA073291F391}"/>
    </a:ext>
  </a:extLst>
</a:theme>
</file>

<file path=ppt/theme/theme9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6</TotalTime>
  <Words>166</Words>
  <Application>Microsoft Office PowerPoint</Application>
  <PresentationFormat>Widescreen</PresentationFormat>
  <Paragraphs>26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5" baseType="lpstr">
      <vt:lpstr>Arial</vt:lpstr>
      <vt:lpstr>Calibri</vt:lpstr>
      <vt:lpstr>Consolas</vt:lpstr>
      <vt:lpstr>Segoe Semibold</vt:lpstr>
      <vt:lpstr>Segoe UI</vt:lpstr>
      <vt:lpstr>Segoe UI Light</vt:lpstr>
      <vt:lpstr>Segoe UI Semibold</vt:lpstr>
      <vt:lpstr>Segoe UI Semilight</vt:lpstr>
      <vt:lpstr>Wingdings</vt:lpstr>
      <vt:lpstr>Wingdings 3</vt:lpstr>
      <vt:lpstr>2_EBC_2017</vt:lpstr>
      <vt:lpstr>1_FY13 EPG Presentation Template_External_16x9_Light</vt:lpstr>
      <vt:lpstr>WHITE TEMPLATE</vt:lpstr>
      <vt:lpstr>2_5-50173_Microsoft_Ready_Light_Template</vt:lpstr>
      <vt:lpstr>3_5-50201_Microsoft_Ready_Template</vt:lpstr>
      <vt:lpstr>1_5-50173_Microsoft_Ready_Light_Template</vt:lpstr>
      <vt:lpstr>Modern DW</vt:lpstr>
      <vt:lpstr>5-30664_S4_Q1_FY16_Light_Template</vt:lpstr>
      <vt:lpstr>think-cell Slide</vt:lpstr>
      <vt:lpstr>Cognitives Services Demos &amp; hands-on</vt:lpstr>
      <vt:lpstr>Demos &amp; hands-on</vt:lpstr>
      <vt:lpstr>Demos &amp; hands-on Face API</vt:lpstr>
      <vt:lpstr>Demos &amp; hands-on Text Analytics </vt:lpstr>
      <vt:lpstr>Demos &amp; hands-on Computer Vision </vt:lpstr>
      <vt:lpstr>Demos &amp; hands-on Video Index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uelle(s) stratégie(s) pour moderniser votre patrimoine de données ?</dc:title>
  <dc:creator>Stéphanie Garnotel</dc:creator>
  <cp:lastModifiedBy>Vasilica Chiriac</cp:lastModifiedBy>
  <cp:revision>13</cp:revision>
  <dcterms:created xsi:type="dcterms:W3CDTF">2018-09-12T16:37:35Z</dcterms:created>
  <dcterms:modified xsi:type="dcterms:W3CDTF">2018-09-26T12:56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vaschi@microsoft.com</vt:lpwstr>
  </property>
  <property fmtid="{D5CDD505-2E9C-101B-9397-08002B2CF9AE}" pid="5" name="MSIP_Label_f42aa342-8706-4288-bd11-ebb85995028c_SetDate">
    <vt:lpwstr>2018-09-20T15:43:40.4432132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</Properties>
</file>